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Lst>
  <p:notesMasterIdLst>
    <p:notesMasterId r:id="rId20"/>
  </p:notesMasterIdLst>
  <p:handoutMasterIdLst>
    <p:handoutMasterId r:id="rId21"/>
  </p:handoutMasterIdLst>
  <p:sldIdLst>
    <p:sldId id="2887" r:id="rId6"/>
    <p:sldId id="2724" r:id="rId7"/>
    <p:sldId id="258" r:id="rId8"/>
    <p:sldId id="2856" r:id="rId9"/>
    <p:sldId id="3348" r:id="rId10"/>
    <p:sldId id="3349" r:id="rId11"/>
    <p:sldId id="3350" r:id="rId12"/>
    <p:sldId id="3353" r:id="rId13"/>
    <p:sldId id="2861" r:id="rId14"/>
    <p:sldId id="2881" r:id="rId15"/>
    <p:sldId id="2862" r:id="rId16"/>
    <p:sldId id="3354" r:id="rId17"/>
    <p:sldId id="3355" r:id="rId18"/>
    <p:sldId id="3356" r:id="rId19"/>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Kernbotschaft" id="{B35C8CCB-B172-F844-9B96-5613C27C05F8}">
          <p14:sldIdLst>
            <p14:sldId id="2856"/>
            <p14:sldId id="3348"/>
            <p14:sldId id="3349"/>
            <p14:sldId id="3350"/>
            <p14:sldId id="3353"/>
          </p14:sldIdLst>
        </p14:section>
        <p14:section name="Transfer-Phase 2: Aktivierung" id="{9C08524E-24E5-3D47-9C00-CF9276A2C9F0}">
          <p14:sldIdLst>
            <p14:sldId id="2861"/>
            <p14:sldId id="2881"/>
          </p14:sldIdLst>
        </p14:section>
        <p14:section name="Transfer-Phase 3: Reflexion" id="{3C99E0EA-9B6F-6F4E-9D83-658BA893BEFB}">
          <p14:sldIdLst>
            <p14:sldId id="2862"/>
            <p14:sldId id="3354"/>
            <p14:sldId id="3355"/>
            <p14:sldId id="3356"/>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901251-3AB2-E3B7-7AB0-F5E1A12B909D}" name="Lilith Pokorra" initials="LP" userId="S::lilith.pokorra@tu-dortmund.de::29887f1b-b715-413d-8f68-9084865f296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0"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10" name="Lilith Pokorra" initials="LP" lastIdx="1" clrIdx="9">
    <p:extLst>
      <p:ext uri="{19B8F6BF-5375-455C-9EA6-DF929625EA0E}">
        <p15:presenceInfo xmlns:p15="http://schemas.microsoft.com/office/powerpoint/2012/main" userId="S::lilith.pokorra@tu-dortmund.de::29887f1b-b715-413d-8f68-9084865f2962" providerId="AD"/>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9930"/>
    <a:srgbClr val="DB4550"/>
    <a:srgbClr val="B1BA87"/>
    <a:srgbClr val="CEDBEA"/>
    <a:srgbClr val="327A86"/>
    <a:srgbClr val="C4ECF3"/>
    <a:srgbClr val="EEECEA"/>
    <a:srgbClr val="4BACC7"/>
    <a:srgbClr val="F89645"/>
    <a:srgbClr val="00B1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D48E69-B3F7-4D80-9AFA-C93931CB47CC}" v="304" dt="2024-09-17T12:04:50.17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55" autoAdjust="0"/>
    <p:restoredTop sz="73197" autoAdjust="0"/>
  </p:normalViewPr>
  <p:slideViewPr>
    <p:cSldViewPr snapToGrid="0">
      <p:cViewPr varScale="1">
        <p:scale>
          <a:sx n="92" d="100"/>
          <a:sy n="92" d="100"/>
        </p:scale>
        <p:origin x="2784" y="176"/>
      </p:cViewPr>
      <p:guideLst>
        <p:guide pos="576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lith Pokorra" userId="29887f1b-b715-413d-8f68-9084865f2962" providerId="ADAL" clId="{29D48E69-B3F7-4D80-9AFA-C93931CB47CC}"/>
    <pc:docChg chg="undo custSel addSld delSld modSld sldOrd modSection">
      <pc:chgData name="Lilith Pokorra" userId="29887f1b-b715-413d-8f68-9084865f2962" providerId="ADAL" clId="{29D48E69-B3F7-4D80-9AFA-C93931CB47CC}" dt="2024-09-17T12:54:34.269" v="8219" actId="20577"/>
      <pc:docMkLst>
        <pc:docMk/>
      </pc:docMkLst>
      <pc:sldChg chg="modSp mod">
        <pc:chgData name="Lilith Pokorra" userId="29887f1b-b715-413d-8f68-9084865f2962" providerId="ADAL" clId="{29D48E69-B3F7-4D80-9AFA-C93931CB47CC}" dt="2024-09-17T11:23:54.851" v="5611" actId="20577"/>
        <pc:sldMkLst>
          <pc:docMk/>
          <pc:sldMk cId="781050650" sldId="2856"/>
        </pc:sldMkLst>
        <pc:spChg chg="mod">
          <ac:chgData name="Lilith Pokorra" userId="29887f1b-b715-413d-8f68-9084865f2962" providerId="ADAL" clId="{29D48E69-B3F7-4D80-9AFA-C93931CB47CC}" dt="2024-09-09T11:48:24.532" v="5607" actId="20577"/>
          <ac:spMkLst>
            <pc:docMk/>
            <pc:sldMk cId="781050650" sldId="2856"/>
            <ac:spMk id="2" creationId="{07236072-4A52-C54D-9963-5319D1FFA5BC}"/>
          </ac:spMkLst>
        </pc:spChg>
        <pc:graphicFrameChg chg="modGraphic">
          <ac:chgData name="Lilith Pokorra" userId="29887f1b-b715-413d-8f68-9084865f2962" providerId="ADAL" clId="{29D48E69-B3F7-4D80-9AFA-C93931CB47CC}" dt="2024-09-17T11:23:54.851" v="5611" actId="20577"/>
          <ac:graphicFrameMkLst>
            <pc:docMk/>
            <pc:sldMk cId="781050650" sldId="2856"/>
            <ac:graphicFrameMk id="4" creationId="{405ADE95-74F3-E248-9762-1EA17D373EA1}"/>
          </ac:graphicFrameMkLst>
        </pc:graphicFrameChg>
      </pc:sldChg>
      <pc:sldChg chg="modSp mod modCm">
        <pc:chgData name="Lilith Pokorra" userId="29887f1b-b715-413d-8f68-9084865f2962" providerId="ADAL" clId="{29D48E69-B3F7-4D80-9AFA-C93931CB47CC}" dt="2024-09-17T11:51:39.723" v="7998" actId="5793"/>
        <pc:sldMkLst>
          <pc:docMk/>
          <pc:sldMk cId="1863211647" sldId="2861"/>
        </pc:sldMkLst>
        <pc:spChg chg="mod">
          <ac:chgData name="Lilith Pokorra" userId="29887f1b-b715-413d-8f68-9084865f2962" providerId="ADAL" clId="{29D48E69-B3F7-4D80-9AFA-C93931CB47CC}" dt="2024-09-17T11:51:39.723" v="7998" actId="5793"/>
          <ac:spMkLst>
            <pc:docMk/>
            <pc:sldMk cId="1863211647" sldId="2861"/>
            <ac:spMk id="5" creationId="{5C65D83D-16B8-824C-AD1A-8831AC2486F6}"/>
          </ac:spMkLst>
        </pc:spChg>
        <pc:graphicFrameChg chg="mod modGraphic">
          <ac:chgData name="Lilith Pokorra" userId="29887f1b-b715-413d-8f68-9084865f2962" providerId="ADAL" clId="{29D48E69-B3F7-4D80-9AFA-C93931CB47CC}" dt="2024-09-17T11:26:17.459" v="5621" actId="108"/>
          <ac:graphicFrameMkLst>
            <pc:docMk/>
            <pc:sldMk cId="1863211647" sldId="2861"/>
            <ac:graphicFrameMk id="4" creationId="{405ADE95-74F3-E248-9762-1EA17D373EA1}"/>
          </ac:graphicFrameMkLst>
        </pc:graphicFrameChg>
        <pc:extLst>
          <p:ext xmlns:p="http://schemas.openxmlformats.org/presentationml/2006/main" uri="{D6D511B9-2390-475A-947B-AFAB55BFBCF1}">
            <pc226:cmChg xmlns:pc226="http://schemas.microsoft.com/office/powerpoint/2022/06/main/command" chg="mod">
              <pc226:chgData name="Lilith Pokorra" userId="29887f1b-b715-413d-8f68-9084865f2962" providerId="ADAL" clId="{29D48E69-B3F7-4D80-9AFA-C93931CB47CC}" dt="2024-09-09T08:04:24.851" v="4598" actId="20577"/>
              <pc2:cmMkLst xmlns:pc2="http://schemas.microsoft.com/office/powerpoint/2019/9/main/command">
                <pc:docMk/>
                <pc:sldMk cId="1863211647" sldId="2861"/>
                <pc2:cmMk id="{71F4440F-12B9-4B2B-B5C8-17CBC20CA272}"/>
              </pc2:cmMkLst>
            </pc226:cmChg>
            <pc226:cmChg xmlns:pc226="http://schemas.microsoft.com/office/powerpoint/2022/06/main/command" chg="mod">
              <pc226:chgData name="Lilith Pokorra" userId="29887f1b-b715-413d-8f68-9084865f2962" providerId="ADAL" clId="{29D48E69-B3F7-4D80-9AFA-C93931CB47CC}" dt="2024-09-09T08:04:24.851" v="4598" actId="20577"/>
              <pc2:cmMkLst xmlns:pc2="http://schemas.microsoft.com/office/powerpoint/2019/9/main/command">
                <pc:docMk/>
                <pc:sldMk cId="1863211647" sldId="2861"/>
                <pc2:cmMk id="{8921C4A6-772B-498E-B46F-B1BA6C0D81AF}"/>
              </pc2:cmMkLst>
            </pc226:cmChg>
          </p:ext>
        </pc:extLst>
      </pc:sldChg>
      <pc:sldChg chg="modSp mod modCm">
        <pc:chgData name="Lilith Pokorra" userId="29887f1b-b715-413d-8f68-9084865f2962" providerId="ADAL" clId="{29D48E69-B3F7-4D80-9AFA-C93931CB47CC}" dt="2024-09-17T12:54:34.269" v="8219" actId="20577"/>
        <pc:sldMkLst>
          <pc:docMk/>
          <pc:sldMk cId="3540560884" sldId="2862"/>
        </pc:sldMkLst>
        <pc:spChg chg="mod">
          <ac:chgData name="Lilith Pokorra" userId="29887f1b-b715-413d-8f68-9084865f2962" providerId="ADAL" clId="{29D48E69-B3F7-4D80-9AFA-C93931CB47CC}" dt="2024-09-17T12:05:37.694" v="8212" actId="1076"/>
          <ac:spMkLst>
            <pc:docMk/>
            <pc:sldMk cId="3540560884" sldId="2862"/>
            <ac:spMk id="5" creationId="{2F470F9D-DA8F-054A-848A-44C1172838E1}"/>
          </ac:spMkLst>
        </pc:spChg>
        <pc:graphicFrameChg chg="mod modGraphic">
          <ac:chgData name="Lilith Pokorra" userId="29887f1b-b715-413d-8f68-9084865f2962" providerId="ADAL" clId="{29D48E69-B3F7-4D80-9AFA-C93931CB47CC}" dt="2024-09-17T12:54:34.269" v="8219" actId="20577"/>
          <ac:graphicFrameMkLst>
            <pc:docMk/>
            <pc:sldMk cId="3540560884" sldId="2862"/>
            <ac:graphicFrameMk id="4" creationId="{405ADE95-74F3-E248-9762-1EA17D373EA1}"/>
          </ac:graphicFrameMkLst>
        </pc:graphicFrameChg>
        <pc:extLst>
          <p:ext xmlns:p="http://schemas.openxmlformats.org/presentationml/2006/main" uri="{D6D511B9-2390-475A-947B-AFAB55BFBCF1}">
            <pc226:cmChg xmlns:pc226="http://schemas.microsoft.com/office/powerpoint/2022/06/main/command" chg="mod">
              <pc226:chgData name="Lilith Pokorra" userId="29887f1b-b715-413d-8f68-9084865f2962" providerId="ADAL" clId="{29D48E69-B3F7-4D80-9AFA-C93931CB47CC}" dt="2024-09-02T14:29:08.928" v="4042" actId="20577"/>
              <pc2:cmMkLst xmlns:pc2="http://schemas.microsoft.com/office/powerpoint/2019/9/main/command">
                <pc:docMk/>
                <pc:sldMk cId="3540560884" sldId="2862"/>
                <pc2:cmMk id="{C4424E62-93C6-46CA-8236-BB4B6E2F7996}"/>
              </pc2:cmMkLst>
            </pc226:cmChg>
            <pc226:cmChg xmlns:pc226="http://schemas.microsoft.com/office/powerpoint/2022/06/main/command" chg="mod">
              <pc226:chgData name="Lilith Pokorra" userId="29887f1b-b715-413d-8f68-9084865f2962" providerId="ADAL" clId="{29D48E69-B3F7-4D80-9AFA-C93931CB47CC}" dt="2024-09-17T12:05:32.770" v="8211" actId="20577"/>
              <pc2:cmMkLst xmlns:pc2="http://schemas.microsoft.com/office/powerpoint/2019/9/main/command">
                <pc:docMk/>
                <pc:sldMk cId="3540560884" sldId="2862"/>
                <pc2:cmMk id="{5F1BD79B-9B73-45AD-9F1D-3CB03C06D878}"/>
              </pc2:cmMkLst>
            </pc226:cmChg>
            <pc226:cmChg xmlns:pc226="http://schemas.microsoft.com/office/powerpoint/2022/06/main/command" chg="mod">
              <pc226:chgData name="Lilith Pokorra" userId="29887f1b-b715-413d-8f68-9084865f2962" providerId="ADAL" clId="{29D48E69-B3F7-4D80-9AFA-C93931CB47CC}" dt="2024-09-17T12:05:32.770" v="8211" actId="20577"/>
              <pc2:cmMkLst xmlns:pc2="http://schemas.microsoft.com/office/powerpoint/2019/9/main/command">
                <pc:docMk/>
                <pc:sldMk cId="3540560884" sldId="2862"/>
                <pc2:cmMk id="{27B93DD2-85B7-4A89-837F-0F763D390BF9}"/>
              </pc2:cmMkLst>
            </pc226:cmChg>
          </p:ext>
        </pc:extLst>
      </pc:sldChg>
      <pc:sldChg chg="modSp mod">
        <pc:chgData name="Lilith Pokorra" userId="29887f1b-b715-413d-8f68-9084865f2962" providerId="ADAL" clId="{29D48E69-B3F7-4D80-9AFA-C93931CB47CC}" dt="2024-09-09T07:43:23.937" v="4099"/>
        <pc:sldMkLst>
          <pc:docMk/>
          <pc:sldMk cId="3949599604" sldId="2881"/>
        </pc:sldMkLst>
        <pc:spChg chg="mod">
          <ac:chgData name="Lilith Pokorra" userId="29887f1b-b715-413d-8f68-9084865f2962" providerId="ADAL" clId="{29D48E69-B3F7-4D80-9AFA-C93931CB47CC}" dt="2024-09-09T07:43:23.937" v="4099"/>
          <ac:spMkLst>
            <pc:docMk/>
            <pc:sldMk cId="3949599604" sldId="2881"/>
            <ac:spMk id="9" creationId="{88C7AB41-4438-45DC-04CC-1BE6B90C69DD}"/>
          </ac:spMkLst>
        </pc:spChg>
        <pc:spChg chg="mod">
          <ac:chgData name="Lilith Pokorra" userId="29887f1b-b715-413d-8f68-9084865f2962" providerId="ADAL" clId="{29D48E69-B3F7-4D80-9AFA-C93931CB47CC}" dt="2024-09-02T14:34:02.063" v="4087" actId="20577"/>
          <ac:spMkLst>
            <pc:docMk/>
            <pc:sldMk cId="3949599604" sldId="2881"/>
            <ac:spMk id="13" creationId="{57BC5648-9C29-0164-1326-740183B2B222}"/>
          </ac:spMkLst>
        </pc:spChg>
        <pc:picChg chg="mod">
          <ac:chgData name="Lilith Pokorra" userId="29887f1b-b715-413d-8f68-9084865f2962" providerId="ADAL" clId="{29D48E69-B3F7-4D80-9AFA-C93931CB47CC}" dt="2024-09-02T11:34:34.478" v="1958" actId="14826"/>
          <ac:picMkLst>
            <pc:docMk/>
            <pc:sldMk cId="3949599604" sldId="2881"/>
            <ac:picMk id="5" creationId="{8AACCBD6-6F16-7B12-346B-FC088E04CD09}"/>
          </ac:picMkLst>
        </pc:picChg>
        <pc:picChg chg="mod">
          <ac:chgData name="Lilith Pokorra" userId="29887f1b-b715-413d-8f68-9084865f2962" providerId="ADAL" clId="{29D48E69-B3F7-4D80-9AFA-C93931CB47CC}" dt="2024-09-02T11:34:25.915" v="1957" actId="14826"/>
          <ac:picMkLst>
            <pc:docMk/>
            <pc:sldMk cId="3949599604" sldId="2881"/>
            <ac:picMk id="11" creationId="{75BFFC4E-1AA3-DA65-196E-5FC4BB3553B3}"/>
          </ac:picMkLst>
        </pc:picChg>
      </pc:sldChg>
      <pc:sldChg chg="modSp mod">
        <pc:chgData name="Lilith Pokorra" userId="29887f1b-b715-413d-8f68-9084865f2962" providerId="ADAL" clId="{29D48E69-B3F7-4D80-9AFA-C93931CB47CC}" dt="2024-09-02T13:37:28.504" v="2108"/>
        <pc:sldMkLst>
          <pc:docMk/>
          <pc:sldMk cId="2222561500" sldId="2887"/>
        </pc:sldMkLst>
        <pc:spChg chg="mod">
          <ac:chgData name="Lilith Pokorra" userId="29887f1b-b715-413d-8f68-9084865f2962" providerId="ADAL" clId="{29D48E69-B3F7-4D80-9AFA-C93931CB47CC}" dt="2024-09-02T13:37:28.504" v="2108"/>
          <ac:spMkLst>
            <pc:docMk/>
            <pc:sldMk cId="2222561500" sldId="2887"/>
            <ac:spMk id="12" creationId="{A81C4177-703F-144C-A9EC-AA7C612215E3}"/>
          </ac:spMkLst>
        </pc:spChg>
      </pc:sldChg>
      <pc:sldChg chg="del">
        <pc:chgData name="Lilith Pokorra" userId="29887f1b-b715-413d-8f68-9084865f2962" providerId="ADAL" clId="{29D48E69-B3F7-4D80-9AFA-C93931CB47CC}" dt="2024-09-02T14:06:20.832" v="2516" actId="47"/>
        <pc:sldMkLst>
          <pc:docMk/>
          <pc:sldMk cId="3251786483" sldId="2895"/>
        </pc:sldMkLst>
      </pc:sldChg>
      <pc:sldChg chg="addSp delSp modSp del mod modNotesTx">
        <pc:chgData name="Lilith Pokorra" userId="29887f1b-b715-413d-8f68-9084865f2962" providerId="ADAL" clId="{29D48E69-B3F7-4D80-9AFA-C93931CB47CC}" dt="2024-09-09T09:51:07.560" v="5605" actId="2696"/>
        <pc:sldMkLst>
          <pc:docMk/>
          <pc:sldMk cId="1101979549" sldId="2896"/>
        </pc:sldMkLst>
        <pc:spChg chg="add mod">
          <ac:chgData name="Lilith Pokorra" userId="29887f1b-b715-413d-8f68-9084865f2962" providerId="ADAL" clId="{29D48E69-B3F7-4D80-9AFA-C93931CB47CC}" dt="2024-09-02T14:35:23.510" v="4088" actId="1076"/>
          <ac:spMkLst>
            <pc:docMk/>
            <pc:sldMk cId="1101979549" sldId="2896"/>
            <ac:spMk id="4" creationId="{B413813E-FFF4-B8AD-FFF2-780DEB865534}"/>
          </ac:spMkLst>
        </pc:spChg>
        <pc:spChg chg="add del">
          <ac:chgData name="Lilith Pokorra" userId="29887f1b-b715-413d-8f68-9084865f2962" providerId="ADAL" clId="{29D48E69-B3F7-4D80-9AFA-C93931CB47CC}" dt="2024-09-02T11:40:51.219" v="1982" actId="478"/>
          <ac:spMkLst>
            <pc:docMk/>
            <pc:sldMk cId="1101979549" sldId="2896"/>
            <ac:spMk id="4" creationId="{B53418E9-9595-F013-CA14-88589AF2E28E}"/>
          </ac:spMkLst>
        </pc:spChg>
        <pc:spChg chg="mod">
          <ac:chgData name="Lilith Pokorra" userId="29887f1b-b715-413d-8f68-9084865f2962" providerId="ADAL" clId="{29D48E69-B3F7-4D80-9AFA-C93931CB47CC}" dt="2024-09-02T14:33:26.909" v="4075"/>
          <ac:spMkLst>
            <pc:docMk/>
            <pc:sldMk cId="1101979549" sldId="2896"/>
            <ac:spMk id="5" creationId="{BDADBDB9-1F0C-E7CF-038C-EBB0D1312C72}"/>
          </ac:spMkLst>
        </pc:spChg>
        <pc:spChg chg="add del mod">
          <ac:chgData name="Lilith Pokorra" userId="29887f1b-b715-413d-8f68-9084865f2962" providerId="ADAL" clId="{29D48E69-B3F7-4D80-9AFA-C93931CB47CC}" dt="2024-09-02T13:35:16.264" v="2100" actId="478"/>
          <ac:spMkLst>
            <pc:docMk/>
            <pc:sldMk cId="1101979549" sldId="2896"/>
            <ac:spMk id="9" creationId="{A11707A4-CC39-8BF6-7DC6-81B68981E1B2}"/>
          </ac:spMkLst>
        </pc:spChg>
        <pc:spChg chg="mod">
          <ac:chgData name="Lilith Pokorra" userId="29887f1b-b715-413d-8f68-9084865f2962" providerId="ADAL" clId="{29D48E69-B3F7-4D80-9AFA-C93931CB47CC}" dt="2024-09-09T07:43:37.639" v="4104"/>
          <ac:spMkLst>
            <pc:docMk/>
            <pc:sldMk cId="1101979549" sldId="2896"/>
            <ac:spMk id="12" creationId="{43D89339-43BA-C3B6-B5AB-5FB2FB7BADD7}"/>
          </ac:spMkLst>
        </pc:spChg>
        <pc:grpChg chg="del">
          <ac:chgData name="Lilith Pokorra" userId="29887f1b-b715-413d-8f68-9084865f2962" providerId="ADAL" clId="{29D48E69-B3F7-4D80-9AFA-C93931CB47CC}" dt="2024-09-02T11:40:34.045" v="1978" actId="478"/>
          <ac:grpSpMkLst>
            <pc:docMk/>
            <pc:sldMk cId="1101979549" sldId="2896"/>
            <ac:grpSpMk id="11" creationId="{5F679E8C-D89E-C8F2-17D7-5E594B4F731E}"/>
          </ac:grpSpMkLst>
        </pc:grpChg>
        <pc:picChg chg="add mod">
          <ac:chgData name="Lilith Pokorra" userId="29887f1b-b715-413d-8f68-9084865f2962" providerId="ADAL" clId="{29D48E69-B3F7-4D80-9AFA-C93931CB47CC}" dt="2024-09-02T14:35:23.510" v="4088" actId="1076"/>
          <ac:picMkLst>
            <pc:docMk/>
            <pc:sldMk cId="1101979549" sldId="2896"/>
            <ac:picMk id="6" creationId="{AC9B4D18-85DC-C76C-BCED-8F0E4BF963AD}"/>
          </ac:picMkLst>
        </pc:picChg>
        <pc:picChg chg="del">
          <ac:chgData name="Lilith Pokorra" userId="29887f1b-b715-413d-8f68-9084865f2962" providerId="ADAL" clId="{29D48E69-B3F7-4D80-9AFA-C93931CB47CC}" dt="2024-09-02T11:40:32.362" v="1977" actId="478"/>
          <ac:picMkLst>
            <pc:docMk/>
            <pc:sldMk cId="1101979549" sldId="2896"/>
            <ac:picMk id="7" creationId="{52EECE44-1586-FE9A-7478-965983358D6A}"/>
          </ac:picMkLst>
        </pc:picChg>
        <pc:picChg chg="add mod">
          <ac:chgData name="Lilith Pokorra" userId="29887f1b-b715-413d-8f68-9084865f2962" providerId="ADAL" clId="{29D48E69-B3F7-4D80-9AFA-C93931CB47CC}" dt="2024-09-02T14:17:14.296" v="2987" actId="14100"/>
          <ac:picMkLst>
            <pc:docMk/>
            <pc:sldMk cId="1101979549" sldId="2896"/>
            <ac:picMk id="13" creationId="{00C80D69-18C4-D0DD-732E-86D95D67EF1B}"/>
          </ac:picMkLst>
        </pc:picChg>
        <pc:picChg chg="del">
          <ac:chgData name="Lilith Pokorra" userId="29887f1b-b715-413d-8f68-9084865f2962" providerId="ADAL" clId="{29D48E69-B3F7-4D80-9AFA-C93931CB47CC}" dt="2024-09-02T11:40:34.893" v="1979" actId="478"/>
          <ac:picMkLst>
            <pc:docMk/>
            <pc:sldMk cId="1101979549" sldId="2896"/>
            <ac:picMk id="16" creationId="{32B81CFC-5401-7FD2-2292-BA26E684CE36}"/>
          </ac:picMkLst>
        </pc:picChg>
        <pc:picChg chg="del">
          <ac:chgData name="Lilith Pokorra" userId="29887f1b-b715-413d-8f68-9084865f2962" providerId="ADAL" clId="{29D48E69-B3F7-4D80-9AFA-C93931CB47CC}" dt="2024-09-02T11:40:35.637" v="1980" actId="478"/>
          <ac:picMkLst>
            <pc:docMk/>
            <pc:sldMk cId="1101979549" sldId="2896"/>
            <ac:picMk id="21" creationId="{16ECC929-00ED-9D7D-4739-DDEAEAAFCA89}"/>
          </ac:picMkLst>
        </pc:picChg>
        <pc:picChg chg="add del mod">
          <ac:chgData name="Lilith Pokorra" userId="29887f1b-b715-413d-8f68-9084865f2962" providerId="ADAL" clId="{29D48E69-B3F7-4D80-9AFA-C93931CB47CC}" dt="2024-09-02T14:17:35.058" v="2992" actId="478"/>
          <ac:picMkLst>
            <pc:docMk/>
            <pc:sldMk cId="1101979549" sldId="2896"/>
            <ac:picMk id="1026" creationId="{22BA3AF4-449F-6FED-C6C7-288B69148B63}"/>
          </ac:picMkLst>
        </pc:picChg>
        <pc:picChg chg="add mod">
          <ac:chgData name="Lilith Pokorra" userId="29887f1b-b715-413d-8f68-9084865f2962" providerId="ADAL" clId="{29D48E69-B3F7-4D80-9AFA-C93931CB47CC}" dt="2024-09-02T14:18:41.378" v="3012" actId="1076"/>
          <ac:picMkLst>
            <pc:docMk/>
            <pc:sldMk cId="1101979549" sldId="2896"/>
            <ac:picMk id="1028" creationId="{F3760CD5-4F83-D159-AE9D-20C518D980D7}"/>
          </ac:picMkLst>
        </pc:picChg>
        <pc:picChg chg="add del mod">
          <ac:chgData name="Lilith Pokorra" userId="29887f1b-b715-413d-8f68-9084865f2962" providerId="ADAL" clId="{29D48E69-B3F7-4D80-9AFA-C93931CB47CC}" dt="2024-09-02T11:43:57.373" v="2051" actId="478"/>
          <ac:picMkLst>
            <pc:docMk/>
            <pc:sldMk cId="1101979549" sldId="2896"/>
            <ac:picMk id="1030" creationId="{8017DF6C-DE4E-0D4D-36CE-A5193A6C0FD0}"/>
          </ac:picMkLst>
        </pc:picChg>
        <pc:picChg chg="add del mod">
          <ac:chgData name="Lilith Pokorra" userId="29887f1b-b715-413d-8f68-9084865f2962" providerId="ADAL" clId="{29D48E69-B3F7-4D80-9AFA-C93931CB47CC}" dt="2024-09-02T11:42:14.307" v="2019" actId="478"/>
          <ac:picMkLst>
            <pc:docMk/>
            <pc:sldMk cId="1101979549" sldId="2896"/>
            <ac:picMk id="1032" creationId="{EBDA9120-8424-B0D4-FE28-3C9A5E1AAC23}"/>
          </ac:picMkLst>
        </pc:picChg>
        <pc:picChg chg="add mod">
          <ac:chgData name="Lilith Pokorra" userId="29887f1b-b715-413d-8f68-9084865f2962" providerId="ADAL" clId="{29D48E69-B3F7-4D80-9AFA-C93931CB47CC}" dt="2024-09-02T14:17:57.271" v="3002" actId="14100"/>
          <ac:picMkLst>
            <pc:docMk/>
            <pc:sldMk cId="1101979549" sldId="2896"/>
            <ac:picMk id="1034" creationId="{49D7B271-460B-8060-BA6F-B966AE810060}"/>
          </ac:picMkLst>
        </pc:picChg>
        <pc:picChg chg="add mod">
          <ac:chgData name="Lilith Pokorra" userId="29887f1b-b715-413d-8f68-9084865f2962" providerId="ADAL" clId="{29D48E69-B3F7-4D80-9AFA-C93931CB47CC}" dt="2024-09-02T14:18:43.662" v="3013" actId="1076"/>
          <ac:picMkLst>
            <pc:docMk/>
            <pc:sldMk cId="1101979549" sldId="2896"/>
            <ac:picMk id="1036" creationId="{E3E1E382-9CFF-F886-7CEF-38F25693FFA2}"/>
          </ac:picMkLst>
        </pc:picChg>
        <pc:picChg chg="add del mod">
          <ac:chgData name="Lilith Pokorra" userId="29887f1b-b715-413d-8f68-9084865f2962" providerId="ADAL" clId="{29D48E69-B3F7-4D80-9AFA-C93931CB47CC}" dt="2024-09-02T11:43:39.501" v="2044" actId="478"/>
          <ac:picMkLst>
            <pc:docMk/>
            <pc:sldMk cId="1101979549" sldId="2896"/>
            <ac:picMk id="1038" creationId="{FB553DB7-8795-FB6A-817C-A256661F5CDD}"/>
          </ac:picMkLst>
        </pc:picChg>
      </pc:sldChg>
      <pc:sldChg chg="del">
        <pc:chgData name="Lilith Pokorra" userId="29887f1b-b715-413d-8f68-9084865f2962" providerId="ADAL" clId="{29D48E69-B3F7-4D80-9AFA-C93931CB47CC}" dt="2024-09-02T11:32:22.108" v="1871" actId="2696"/>
        <pc:sldMkLst>
          <pc:docMk/>
          <pc:sldMk cId="3884905545" sldId="3334"/>
        </pc:sldMkLst>
      </pc:sldChg>
      <pc:sldChg chg="del">
        <pc:chgData name="Lilith Pokorra" userId="29887f1b-b715-413d-8f68-9084865f2962" providerId="ADAL" clId="{29D48E69-B3F7-4D80-9AFA-C93931CB47CC}" dt="2024-09-02T11:32:22.108" v="1871" actId="2696"/>
        <pc:sldMkLst>
          <pc:docMk/>
          <pc:sldMk cId="3277180654" sldId="3345"/>
        </pc:sldMkLst>
      </pc:sldChg>
      <pc:sldChg chg="del">
        <pc:chgData name="Lilith Pokorra" userId="29887f1b-b715-413d-8f68-9084865f2962" providerId="ADAL" clId="{29D48E69-B3F7-4D80-9AFA-C93931CB47CC}" dt="2024-09-02T11:32:22.108" v="1871" actId="2696"/>
        <pc:sldMkLst>
          <pc:docMk/>
          <pc:sldMk cId="4196279338" sldId="3346"/>
        </pc:sldMkLst>
      </pc:sldChg>
      <pc:sldChg chg="modSp del mod">
        <pc:chgData name="Lilith Pokorra" userId="29887f1b-b715-413d-8f68-9084865f2962" providerId="ADAL" clId="{29D48E69-B3F7-4D80-9AFA-C93931CB47CC}" dt="2024-09-02T14:06:20.832" v="2516" actId="47"/>
        <pc:sldMkLst>
          <pc:docMk/>
          <pc:sldMk cId="2784490687" sldId="3347"/>
        </pc:sldMkLst>
        <pc:spChg chg="mod">
          <ac:chgData name="Lilith Pokorra" userId="29887f1b-b715-413d-8f68-9084865f2962" providerId="ADAL" clId="{29D48E69-B3F7-4D80-9AFA-C93931CB47CC}" dt="2024-09-02T13:56:58.121" v="2374" actId="20577"/>
          <ac:spMkLst>
            <pc:docMk/>
            <pc:sldMk cId="2784490687" sldId="3347"/>
            <ac:spMk id="11" creationId="{D9B79FCB-0063-CC21-37BF-140FBD5AD832}"/>
          </ac:spMkLst>
        </pc:spChg>
      </pc:sldChg>
      <pc:sldChg chg="addSp delSp modSp add mod ord modCm modNotesTx">
        <pc:chgData name="Lilith Pokorra" userId="29887f1b-b715-413d-8f68-9084865f2962" providerId="ADAL" clId="{29D48E69-B3F7-4D80-9AFA-C93931CB47CC}" dt="2024-09-17T12:12:06.864" v="8216" actId="20577"/>
        <pc:sldMkLst>
          <pc:docMk/>
          <pc:sldMk cId="3172927614" sldId="3348"/>
        </pc:sldMkLst>
        <pc:spChg chg="add del">
          <ac:chgData name="Lilith Pokorra" userId="29887f1b-b715-413d-8f68-9084865f2962" providerId="ADAL" clId="{29D48E69-B3F7-4D80-9AFA-C93931CB47CC}" dt="2024-09-09T07:42:50.070" v="4092" actId="22"/>
          <ac:spMkLst>
            <pc:docMk/>
            <pc:sldMk cId="3172927614" sldId="3348"/>
            <ac:spMk id="4" creationId="{482C8A87-8AF2-9DE6-1DCB-B4EAD9BBFBAC}"/>
          </ac:spMkLst>
        </pc:spChg>
        <pc:spChg chg="add del mod">
          <ac:chgData name="Lilith Pokorra" userId="29887f1b-b715-413d-8f68-9084865f2962" providerId="ADAL" clId="{29D48E69-B3F7-4D80-9AFA-C93931CB47CC}" dt="2024-09-02T11:09:21.085" v="63" actId="478"/>
          <ac:spMkLst>
            <pc:docMk/>
            <pc:sldMk cId="3172927614" sldId="3348"/>
            <ac:spMk id="4" creationId="{5A6BF1C3-766F-ECB6-634C-15403DAF40A9}"/>
          </ac:spMkLst>
        </pc:spChg>
        <pc:spChg chg="mod">
          <ac:chgData name="Lilith Pokorra" userId="29887f1b-b715-413d-8f68-9084865f2962" providerId="ADAL" clId="{29D48E69-B3F7-4D80-9AFA-C93931CB47CC}" dt="2024-09-09T07:42:58.040" v="4096" actId="20577"/>
          <ac:spMkLst>
            <pc:docMk/>
            <pc:sldMk cId="3172927614" sldId="3348"/>
            <ac:spMk id="6" creationId="{B6F2B6BF-DFA6-2876-0598-C46240809055}"/>
          </ac:spMkLst>
        </pc:spChg>
        <pc:spChg chg="mod">
          <ac:chgData name="Lilith Pokorra" userId="29887f1b-b715-413d-8f68-9084865f2962" providerId="ADAL" clId="{29D48E69-B3F7-4D80-9AFA-C93931CB47CC}" dt="2024-09-02T11:09:18.776" v="62" actId="20577"/>
          <ac:spMkLst>
            <pc:docMk/>
            <pc:sldMk cId="3172927614" sldId="3348"/>
            <ac:spMk id="11" creationId="{FF27579C-64D9-6E8E-76D3-CB3A31A68839}"/>
          </ac:spMkLst>
        </pc:spChg>
        <pc:spChg chg="mod">
          <ac:chgData name="Lilith Pokorra" userId="29887f1b-b715-413d-8f68-9084865f2962" providerId="ADAL" clId="{29D48E69-B3F7-4D80-9AFA-C93931CB47CC}" dt="2024-09-02T11:09:50.664" v="68" actId="1076"/>
          <ac:spMkLst>
            <pc:docMk/>
            <pc:sldMk cId="3172927614" sldId="3348"/>
            <ac:spMk id="12" creationId="{17ECC90C-3A3D-1539-EF4B-3578DF003DCB}"/>
          </ac:spMkLst>
        </pc:spChg>
        <pc:picChg chg="add mod">
          <ac:chgData name="Lilith Pokorra" userId="29887f1b-b715-413d-8f68-9084865f2962" providerId="ADAL" clId="{29D48E69-B3F7-4D80-9AFA-C93931CB47CC}" dt="2024-09-02T11:09:29.600" v="66" actId="1076"/>
          <ac:picMkLst>
            <pc:docMk/>
            <pc:sldMk cId="3172927614" sldId="3348"/>
            <ac:picMk id="7" creationId="{177BF64F-01B3-39FE-7595-C4394F13D2C5}"/>
          </ac:picMkLst>
        </pc:picChg>
        <pc:picChg chg="del">
          <ac:chgData name="Lilith Pokorra" userId="29887f1b-b715-413d-8f68-9084865f2962" providerId="ADAL" clId="{29D48E69-B3F7-4D80-9AFA-C93931CB47CC}" dt="2024-09-02T11:09:08.802" v="50" actId="478"/>
          <ac:picMkLst>
            <pc:docMk/>
            <pc:sldMk cId="3172927614" sldId="3348"/>
            <ac:picMk id="9" creationId="{F6CF50FF-3DD3-BFFF-2962-4494BD3D64BA}"/>
          </ac:picMkLst>
        </pc:picChg>
        <pc:extLst>
          <p:ext xmlns:p="http://schemas.openxmlformats.org/presentationml/2006/main" uri="{D6D511B9-2390-475A-947B-AFAB55BFBCF1}">
            <pc226:cmChg xmlns:pc226="http://schemas.microsoft.com/office/powerpoint/2022/06/main/command" chg="mod">
              <pc226:chgData name="Lilith Pokorra" userId="29887f1b-b715-413d-8f68-9084865f2962" providerId="ADAL" clId="{29D48E69-B3F7-4D80-9AFA-C93931CB47CC}" dt="2024-09-09T07:42:58.040" v="4096" actId="20577"/>
              <pc2:cmMkLst xmlns:pc2="http://schemas.microsoft.com/office/powerpoint/2019/9/main/command">
                <pc:docMk/>
                <pc:sldMk cId="3172927614" sldId="3348"/>
                <pc2:cmMk id="{4D68FDFD-5A67-49C6-87EA-1DE4A9D0278C}"/>
              </pc2:cmMkLst>
            </pc226:cmChg>
          </p:ext>
        </pc:extLst>
      </pc:sldChg>
      <pc:sldChg chg="addSp delSp modSp add mod modNotesTx">
        <pc:chgData name="Lilith Pokorra" userId="29887f1b-b715-413d-8f68-9084865f2962" providerId="ADAL" clId="{29D48E69-B3F7-4D80-9AFA-C93931CB47CC}" dt="2024-09-09T07:44:05.596" v="4105" actId="14826"/>
        <pc:sldMkLst>
          <pc:docMk/>
          <pc:sldMk cId="2668708257" sldId="3349"/>
        </pc:sldMkLst>
        <pc:spChg chg="add mod">
          <ac:chgData name="Lilith Pokorra" userId="29887f1b-b715-413d-8f68-9084865f2962" providerId="ADAL" clId="{29D48E69-B3F7-4D80-9AFA-C93931CB47CC}" dt="2024-09-02T11:15:00.616" v="134" actId="1076"/>
          <ac:spMkLst>
            <pc:docMk/>
            <pc:sldMk cId="2668708257" sldId="3349"/>
            <ac:spMk id="4" creationId="{400EEE8F-0861-9F70-8ED4-1DE8FB5E8556}"/>
          </ac:spMkLst>
        </pc:spChg>
        <pc:spChg chg="mod">
          <ac:chgData name="Lilith Pokorra" userId="29887f1b-b715-413d-8f68-9084865f2962" providerId="ADAL" clId="{29D48E69-B3F7-4D80-9AFA-C93931CB47CC}" dt="2024-09-09T07:43:13.667" v="4097"/>
          <ac:spMkLst>
            <pc:docMk/>
            <pc:sldMk cId="2668708257" sldId="3349"/>
            <ac:spMk id="6" creationId="{B6F2B6BF-DFA6-2876-0598-C46240809055}"/>
          </ac:spMkLst>
        </pc:spChg>
        <pc:spChg chg="add mod">
          <ac:chgData name="Lilith Pokorra" userId="29887f1b-b715-413d-8f68-9084865f2962" providerId="ADAL" clId="{29D48E69-B3F7-4D80-9AFA-C93931CB47CC}" dt="2024-09-02T11:18:22.751" v="216" actId="1076"/>
          <ac:spMkLst>
            <pc:docMk/>
            <pc:sldMk cId="2668708257" sldId="3349"/>
            <ac:spMk id="9" creationId="{AC3B2B94-F6BA-612E-74D6-795264275BB6}"/>
          </ac:spMkLst>
        </pc:spChg>
        <pc:spChg chg="add mod">
          <ac:chgData name="Lilith Pokorra" userId="29887f1b-b715-413d-8f68-9084865f2962" providerId="ADAL" clId="{29D48E69-B3F7-4D80-9AFA-C93931CB47CC}" dt="2024-09-02T11:14:15.412" v="123" actId="1076"/>
          <ac:spMkLst>
            <pc:docMk/>
            <pc:sldMk cId="2668708257" sldId="3349"/>
            <ac:spMk id="13" creationId="{16AD64C1-DCF7-7CDB-1A14-9B5944A20A4E}"/>
          </ac:spMkLst>
        </pc:spChg>
        <pc:spChg chg="add mod">
          <ac:chgData name="Lilith Pokorra" userId="29887f1b-b715-413d-8f68-9084865f2962" providerId="ADAL" clId="{29D48E69-B3F7-4D80-9AFA-C93931CB47CC}" dt="2024-09-02T11:15:40.730" v="143" actId="14100"/>
          <ac:spMkLst>
            <pc:docMk/>
            <pc:sldMk cId="2668708257" sldId="3349"/>
            <ac:spMk id="15" creationId="{730A5D1C-EE38-3C27-1877-AC7ADC42107B}"/>
          </ac:spMkLst>
        </pc:spChg>
        <pc:spChg chg="add mod">
          <ac:chgData name="Lilith Pokorra" userId="29887f1b-b715-413d-8f68-9084865f2962" providerId="ADAL" clId="{29D48E69-B3F7-4D80-9AFA-C93931CB47CC}" dt="2024-09-02T11:15:50.534" v="146" actId="14100"/>
          <ac:spMkLst>
            <pc:docMk/>
            <pc:sldMk cId="2668708257" sldId="3349"/>
            <ac:spMk id="17" creationId="{F3F1268A-223D-415C-9DBE-7A67CFA1B4A5}"/>
          </ac:spMkLst>
        </pc:spChg>
        <pc:spChg chg="add mod">
          <ac:chgData name="Lilith Pokorra" userId="29887f1b-b715-413d-8f68-9084865f2962" providerId="ADAL" clId="{29D48E69-B3F7-4D80-9AFA-C93931CB47CC}" dt="2024-09-02T11:15:22.834" v="139" actId="1076"/>
          <ac:spMkLst>
            <pc:docMk/>
            <pc:sldMk cId="2668708257" sldId="3349"/>
            <ac:spMk id="19" creationId="{581DA683-B2B8-A8DE-122F-B4AC7A725466}"/>
          </ac:spMkLst>
        </pc:spChg>
        <pc:spChg chg="add mod">
          <ac:chgData name="Lilith Pokorra" userId="29887f1b-b715-413d-8f68-9084865f2962" providerId="ADAL" clId="{29D48E69-B3F7-4D80-9AFA-C93931CB47CC}" dt="2024-09-02T11:12:33.783" v="97" actId="1076"/>
          <ac:spMkLst>
            <pc:docMk/>
            <pc:sldMk cId="2668708257" sldId="3349"/>
            <ac:spMk id="23" creationId="{C9947A78-6DEF-DB92-1D48-48DFC28D6971}"/>
          </ac:spMkLst>
        </pc:spChg>
        <pc:picChg chg="add mod">
          <ac:chgData name="Lilith Pokorra" userId="29887f1b-b715-413d-8f68-9084865f2962" providerId="ADAL" clId="{29D48E69-B3F7-4D80-9AFA-C93931CB47CC}" dt="2024-09-09T07:44:05.596" v="4105" actId="14826"/>
          <ac:picMkLst>
            <pc:docMk/>
            <pc:sldMk cId="2668708257" sldId="3349"/>
            <ac:picMk id="2" creationId="{B1285750-3B64-08D1-99C2-CC50B3CD93BC}"/>
          </ac:picMkLst>
        </pc:picChg>
        <pc:picChg chg="del">
          <ac:chgData name="Lilith Pokorra" userId="29887f1b-b715-413d-8f68-9084865f2962" providerId="ADAL" clId="{29D48E69-B3F7-4D80-9AFA-C93931CB47CC}" dt="2024-09-02T11:10:25.722" v="70" actId="478"/>
          <ac:picMkLst>
            <pc:docMk/>
            <pc:sldMk cId="2668708257" sldId="3349"/>
            <ac:picMk id="7" creationId="{177BF64F-01B3-39FE-7595-C4394F13D2C5}"/>
          </ac:picMkLst>
        </pc:picChg>
        <pc:cxnChg chg="add mod">
          <ac:chgData name="Lilith Pokorra" userId="29887f1b-b715-413d-8f68-9084865f2962" providerId="ADAL" clId="{29D48E69-B3F7-4D80-9AFA-C93931CB47CC}" dt="2024-09-02T11:15:00.616" v="134" actId="1076"/>
          <ac:cxnSpMkLst>
            <pc:docMk/>
            <pc:sldMk cId="2668708257" sldId="3349"/>
            <ac:cxnSpMk id="8" creationId="{3EB7BE9B-C805-44AD-4848-4B8B15EF93C1}"/>
          </ac:cxnSpMkLst>
        </pc:cxnChg>
        <pc:cxnChg chg="add del mod">
          <ac:chgData name="Lilith Pokorra" userId="29887f1b-b715-413d-8f68-9084865f2962" providerId="ADAL" clId="{29D48E69-B3F7-4D80-9AFA-C93931CB47CC}" dt="2024-09-02T11:12:17.614" v="93" actId="478"/>
          <ac:cxnSpMkLst>
            <pc:docMk/>
            <pc:sldMk cId="2668708257" sldId="3349"/>
            <ac:cxnSpMk id="10" creationId="{849110F6-2833-F907-2BBA-10F5925AE35A}"/>
          </ac:cxnSpMkLst>
        </pc:cxnChg>
        <pc:cxnChg chg="add del mod">
          <ac:chgData name="Lilith Pokorra" userId="29887f1b-b715-413d-8f68-9084865f2962" providerId="ADAL" clId="{29D48E69-B3F7-4D80-9AFA-C93931CB47CC}" dt="2024-09-02T11:12:16.414" v="91" actId="478"/>
          <ac:cxnSpMkLst>
            <pc:docMk/>
            <pc:sldMk cId="2668708257" sldId="3349"/>
            <ac:cxnSpMk id="14" creationId="{4E07A484-2126-96F7-7D65-E4E48A0F62F9}"/>
          </ac:cxnSpMkLst>
        </pc:cxnChg>
        <pc:cxnChg chg="add mod">
          <ac:chgData name="Lilith Pokorra" userId="29887f1b-b715-413d-8f68-9084865f2962" providerId="ADAL" clId="{29D48E69-B3F7-4D80-9AFA-C93931CB47CC}" dt="2024-09-02T11:15:42.344" v="144" actId="14100"/>
          <ac:cxnSpMkLst>
            <pc:docMk/>
            <pc:sldMk cId="2668708257" sldId="3349"/>
            <ac:cxnSpMk id="16" creationId="{D4F9BC51-22E0-F71F-F8F6-A67DC684743F}"/>
          </ac:cxnSpMkLst>
        </pc:cxnChg>
        <pc:cxnChg chg="add mod">
          <ac:chgData name="Lilith Pokorra" userId="29887f1b-b715-413d-8f68-9084865f2962" providerId="ADAL" clId="{29D48E69-B3F7-4D80-9AFA-C93931CB47CC}" dt="2024-09-02T11:15:18.135" v="138" actId="14100"/>
          <ac:cxnSpMkLst>
            <pc:docMk/>
            <pc:sldMk cId="2668708257" sldId="3349"/>
            <ac:cxnSpMk id="18" creationId="{06D0E69B-DFAB-32F9-B659-F3B4C099FBAA}"/>
          </ac:cxnSpMkLst>
        </pc:cxnChg>
        <pc:cxnChg chg="add mod">
          <ac:chgData name="Lilith Pokorra" userId="29887f1b-b715-413d-8f68-9084865f2962" providerId="ADAL" clId="{29D48E69-B3F7-4D80-9AFA-C93931CB47CC}" dt="2024-09-02T11:15:33.039" v="142" actId="14100"/>
          <ac:cxnSpMkLst>
            <pc:docMk/>
            <pc:sldMk cId="2668708257" sldId="3349"/>
            <ac:cxnSpMk id="22" creationId="{3CE6C757-B50A-1B80-0ED3-B6CBE51478ED}"/>
          </ac:cxnSpMkLst>
        </pc:cxnChg>
        <pc:cxnChg chg="add del mod">
          <ac:chgData name="Lilith Pokorra" userId="29887f1b-b715-413d-8f68-9084865f2962" providerId="ADAL" clId="{29D48E69-B3F7-4D80-9AFA-C93931CB47CC}" dt="2024-09-02T11:12:18.284" v="94" actId="478"/>
          <ac:cxnSpMkLst>
            <pc:docMk/>
            <pc:sldMk cId="2668708257" sldId="3349"/>
            <ac:cxnSpMk id="24" creationId="{64DAAC5F-0912-713A-C7FB-C097F643F6B8}"/>
          </ac:cxnSpMkLst>
        </pc:cxnChg>
        <pc:cxnChg chg="add mod">
          <ac:chgData name="Lilith Pokorra" userId="29887f1b-b715-413d-8f68-9084865f2962" providerId="ADAL" clId="{29D48E69-B3F7-4D80-9AFA-C93931CB47CC}" dt="2024-09-02T11:12:46.206" v="102" actId="14100"/>
          <ac:cxnSpMkLst>
            <pc:docMk/>
            <pc:sldMk cId="2668708257" sldId="3349"/>
            <ac:cxnSpMk id="36" creationId="{2CB2C10C-B12C-114A-225C-125828B27FF0}"/>
          </ac:cxnSpMkLst>
        </pc:cxnChg>
        <pc:cxnChg chg="add del mod">
          <ac:chgData name="Lilith Pokorra" userId="29887f1b-b715-413d-8f68-9084865f2962" providerId="ADAL" clId="{29D48E69-B3F7-4D80-9AFA-C93931CB47CC}" dt="2024-09-02T11:13:41.332" v="117" actId="478"/>
          <ac:cxnSpMkLst>
            <pc:docMk/>
            <pc:sldMk cId="2668708257" sldId="3349"/>
            <ac:cxnSpMk id="39" creationId="{922D9B89-4B72-DB79-DD8F-5C7D103DB0B9}"/>
          </ac:cxnSpMkLst>
        </pc:cxnChg>
        <pc:cxnChg chg="add del mod">
          <ac:chgData name="Lilith Pokorra" userId="29887f1b-b715-413d-8f68-9084865f2962" providerId="ADAL" clId="{29D48E69-B3F7-4D80-9AFA-C93931CB47CC}" dt="2024-09-02T11:13:31.500" v="113" actId="478"/>
          <ac:cxnSpMkLst>
            <pc:docMk/>
            <pc:sldMk cId="2668708257" sldId="3349"/>
            <ac:cxnSpMk id="43" creationId="{4F19117C-6041-D648-17F6-C4E696060BD1}"/>
          </ac:cxnSpMkLst>
        </pc:cxnChg>
        <pc:cxnChg chg="add del mod">
          <ac:chgData name="Lilith Pokorra" userId="29887f1b-b715-413d-8f68-9084865f2962" providerId="ADAL" clId="{29D48E69-B3F7-4D80-9AFA-C93931CB47CC}" dt="2024-09-02T11:14:36.651" v="129" actId="478"/>
          <ac:cxnSpMkLst>
            <pc:docMk/>
            <pc:sldMk cId="2668708257" sldId="3349"/>
            <ac:cxnSpMk id="47" creationId="{EBCF3063-335C-81AE-8DD9-C39E6AEBC76B}"/>
          </ac:cxnSpMkLst>
        </pc:cxnChg>
        <pc:cxnChg chg="add mod">
          <ac:chgData name="Lilith Pokorra" userId="29887f1b-b715-413d-8f68-9084865f2962" providerId="ADAL" clId="{29D48E69-B3F7-4D80-9AFA-C93931CB47CC}" dt="2024-09-02T11:14:44.189" v="131" actId="14100"/>
          <ac:cxnSpMkLst>
            <pc:docMk/>
            <pc:sldMk cId="2668708257" sldId="3349"/>
            <ac:cxnSpMk id="50" creationId="{8694F3A0-F348-D68C-563E-02525496465A}"/>
          </ac:cxnSpMkLst>
        </pc:cxnChg>
        <pc:cxnChg chg="add mod">
          <ac:chgData name="Lilith Pokorra" userId="29887f1b-b715-413d-8f68-9084865f2962" providerId="ADAL" clId="{29D48E69-B3F7-4D80-9AFA-C93931CB47CC}" dt="2024-09-02T11:14:50.038" v="133" actId="14100"/>
          <ac:cxnSpMkLst>
            <pc:docMk/>
            <pc:sldMk cId="2668708257" sldId="3349"/>
            <ac:cxnSpMk id="54" creationId="{1823856B-3D23-0305-7462-AE856884CF8B}"/>
          </ac:cxnSpMkLst>
        </pc:cxnChg>
      </pc:sldChg>
      <pc:sldChg chg="addSp delSp modSp add mod modNotesTx">
        <pc:chgData name="Lilith Pokorra" userId="29887f1b-b715-413d-8f68-9084865f2962" providerId="ADAL" clId="{29D48E69-B3F7-4D80-9AFA-C93931CB47CC}" dt="2024-09-09T07:44:19.503" v="4106" actId="14826"/>
        <pc:sldMkLst>
          <pc:docMk/>
          <pc:sldMk cId="2768833622" sldId="3350"/>
        </pc:sldMkLst>
        <pc:spChg chg="mod">
          <ac:chgData name="Lilith Pokorra" userId="29887f1b-b715-413d-8f68-9084865f2962" providerId="ADAL" clId="{29D48E69-B3F7-4D80-9AFA-C93931CB47CC}" dt="2024-09-02T11:17:45.747" v="204" actId="108"/>
          <ac:spMkLst>
            <pc:docMk/>
            <pc:sldMk cId="2768833622" sldId="3350"/>
            <ac:spMk id="4" creationId="{400EEE8F-0861-9F70-8ED4-1DE8FB5E8556}"/>
          </ac:spMkLst>
        </pc:spChg>
        <pc:spChg chg="mod">
          <ac:chgData name="Lilith Pokorra" userId="29887f1b-b715-413d-8f68-9084865f2962" providerId="ADAL" clId="{29D48E69-B3F7-4D80-9AFA-C93931CB47CC}" dt="2024-09-09T07:43:18.994" v="4098"/>
          <ac:spMkLst>
            <pc:docMk/>
            <pc:sldMk cId="2768833622" sldId="3350"/>
            <ac:spMk id="6" creationId="{B6F2B6BF-DFA6-2876-0598-C46240809055}"/>
          </ac:spMkLst>
        </pc:spChg>
        <pc:spChg chg="del mod">
          <ac:chgData name="Lilith Pokorra" userId="29887f1b-b715-413d-8f68-9084865f2962" providerId="ADAL" clId="{29D48E69-B3F7-4D80-9AFA-C93931CB47CC}" dt="2024-09-02T11:18:26.948" v="217" actId="478"/>
          <ac:spMkLst>
            <pc:docMk/>
            <pc:sldMk cId="2768833622" sldId="3350"/>
            <ac:spMk id="9" creationId="{AC3B2B94-F6BA-612E-74D6-795264275BB6}"/>
          </ac:spMkLst>
        </pc:spChg>
        <pc:spChg chg="add mod">
          <ac:chgData name="Lilith Pokorra" userId="29887f1b-b715-413d-8f68-9084865f2962" providerId="ADAL" clId="{29D48E69-B3F7-4D80-9AFA-C93931CB47CC}" dt="2024-09-02T11:17:24.095" v="200" actId="1076"/>
          <ac:spMkLst>
            <pc:docMk/>
            <pc:sldMk cId="2768833622" sldId="3350"/>
            <ac:spMk id="10" creationId="{F7B6EEA7-F551-7048-5085-5D7C9D8BAECB}"/>
          </ac:spMkLst>
        </pc:spChg>
        <pc:spChg chg="mod">
          <ac:chgData name="Lilith Pokorra" userId="29887f1b-b715-413d-8f68-9084865f2962" providerId="ADAL" clId="{29D48E69-B3F7-4D80-9AFA-C93931CB47CC}" dt="2024-09-02T11:19:02.933" v="220" actId="208"/>
          <ac:spMkLst>
            <pc:docMk/>
            <pc:sldMk cId="2768833622" sldId="3350"/>
            <ac:spMk id="13" creationId="{16AD64C1-DCF7-7CDB-1A14-9B5944A20A4E}"/>
          </ac:spMkLst>
        </pc:spChg>
        <pc:spChg chg="del">
          <ac:chgData name="Lilith Pokorra" userId="29887f1b-b715-413d-8f68-9084865f2962" providerId="ADAL" clId="{29D48E69-B3F7-4D80-9AFA-C93931CB47CC}" dt="2024-09-02T11:17:09.660" v="198" actId="478"/>
          <ac:spMkLst>
            <pc:docMk/>
            <pc:sldMk cId="2768833622" sldId="3350"/>
            <ac:spMk id="15" creationId="{730A5D1C-EE38-3C27-1877-AC7ADC42107B}"/>
          </ac:spMkLst>
        </pc:spChg>
        <pc:spChg chg="del">
          <ac:chgData name="Lilith Pokorra" userId="29887f1b-b715-413d-8f68-9084865f2962" providerId="ADAL" clId="{29D48E69-B3F7-4D80-9AFA-C93931CB47CC}" dt="2024-09-02T11:17:09.660" v="198" actId="478"/>
          <ac:spMkLst>
            <pc:docMk/>
            <pc:sldMk cId="2768833622" sldId="3350"/>
            <ac:spMk id="17" creationId="{F3F1268A-223D-415C-9DBE-7A67CFA1B4A5}"/>
          </ac:spMkLst>
        </pc:spChg>
        <pc:spChg chg="mod">
          <ac:chgData name="Lilith Pokorra" userId="29887f1b-b715-413d-8f68-9084865f2962" providerId="ADAL" clId="{29D48E69-B3F7-4D80-9AFA-C93931CB47CC}" dt="2024-09-02T11:17:04.187" v="197" actId="1076"/>
          <ac:spMkLst>
            <pc:docMk/>
            <pc:sldMk cId="2768833622" sldId="3350"/>
            <ac:spMk id="19" creationId="{581DA683-B2B8-A8DE-122F-B4AC7A725466}"/>
          </ac:spMkLst>
        </pc:spChg>
        <pc:spChg chg="del">
          <ac:chgData name="Lilith Pokorra" userId="29887f1b-b715-413d-8f68-9084865f2962" providerId="ADAL" clId="{29D48E69-B3F7-4D80-9AFA-C93931CB47CC}" dt="2024-09-02T11:16:37.816" v="149" actId="478"/>
          <ac:spMkLst>
            <pc:docMk/>
            <pc:sldMk cId="2768833622" sldId="3350"/>
            <ac:spMk id="23" creationId="{C9947A78-6DEF-DB92-1D48-48DFC28D6971}"/>
          </ac:spMkLst>
        </pc:spChg>
        <pc:spChg chg="add mod">
          <ac:chgData name="Lilith Pokorra" userId="29887f1b-b715-413d-8f68-9084865f2962" providerId="ADAL" clId="{29D48E69-B3F7-4D80-9AFA-C93931CB47CC}" dt="2024-09-02T11:19:02.933" v="220" actId="208"/>
          <ac:spMkLst>
            <pc:docMk/>
            <pc:sldMk cId="2768833622" sldId="3350"/>
            <ac:spMk id="29" creationId="{FB9F853D-504E-ED33-D639-2B2D7954967A}"/>
          </ac:spMkLst>
        </pc:spChg>
        <pc:picChg chg="mod">
          <ac:chgData name="Lilith Pokorra" userId="29887f1b-b715-413d-8f68-9084865f2962" providerId="ADAL" clId="{29D48E69-B3F7-4D80-9AFA-C93931CB47CC}" dt="2024-09-09T07:44:19.503" v="4106" actId="14826"/>
          <ac:picMkLst>
            <pc:docMk/>
            <pc:sldMk cId="2768833622" sldId="3350"/>
            <ac:picMk id="2" creationId="{B1285750-3B64-08D1-99C2-CC50B3CD93BC}"/>
          </ac:picMkLst>
        </pc:picChg>
        <pc:cxnChg chg="mod">
          <ac:chgData name="Lilith Pokorra" userId="29887f1b-b715-413d-8f68-9084865f2962" providerId="ADAL" clId="{29D48E69-B3F7-4D80-9AFA-C93931CB47CC}" dt="2024-09-02T11:19:04.801" v="221" actId="208"/>
          <ac:cxnSpMkLst>
            <pc:docMk/>
            <pc:sldMk cId="2768833622" sldId="3350"/>
            <ac:cxnSpMk id="8" creationId="{3EB7BE9B-C805-44AD-4848-4B8B15EF93C1}"/>
          </ac:cxnSpMkLst>
        </pc:cxnChg>
        <pc:cxnChg chg="add mod">
          <ac:chgData name="Lilith Pokorra" userId="29887f1b-b715-413d-8f68-9084865f2962" providerId="ADAL" clId="{29D48E69-B3F7-4D80-9AFA-C93931CB47CC}" dt="2024-09-02T11:17:28.438" v="201" actId="14100"/>
          <ac:cxnSpMkLst>
            <pc:docMk/>
            <pc:sldMk cId="2768833622" sldId="3350"/>
            <ac:cxnSpMk id="14" creationId="{445BA92E-F810-329D-C39C-B47DD21723A6}"/>
          </ac:cxnSpMkLst>
        </pc:cxnChg>
        <pc:cxnChg chg="del mod">
          <ac:chgData name="Lilith Pokorra" userId="29887f1b-b715-413d-8f68-9084865f2962" providerId="ADAL" clId="{29D48E69-B3F7-4D80-9AFA-C93931CB47CC}" dt="2024-09-02T11:17:09.660" v="198" actId="478"/>
          <ac:cxnSpMkLst>
            <pc:docMk/>
            <pc:sldMk cId="2768833622" sldId="3350"/>
            <ac:cxnSpMk id="16" creationId="{D4F9BC51-22E0-F71F-F8F6-A67DC684743F}"/>
          </ac:cxnSpMkLst>
        </pc:cxnChg>
        <pc:cxnChg chg="del">
          <ac:chgData name="Lilith Pokorra" userId="29887f1b-b715-413d-8f68-9084865f2962" providerId="ADAL" clId="{29D48E69-B3F7-4D80-9AFA-C93931CB47CC}" dt="2024-09-02T11:17:09.660" v="198" actId="478"/>
          <ac:cxnSpMkLst>
            <pc:docMk/>
            <pc:sldMk cId="2768833622" sldId="3350"/>
            <ac:cxnSpMk id="18" creationId="{06D0E69B-DFAB-32F9-B659-F3B4C099FBAA}"/>
          </ac:cxnSpMkLst>
        </pc:cxnChg>
        <pc:cxnChg chg="mod">
          <ac:chgData name="Lilith Pokorra" userId="29887f1b-b715-413d-8f68-9084865f2962" providerId="ADAL" clId="{29D48E69-B3F7-4D80-9AFA-C93931CB47CC}" dt="2024-09-02T11:16:47.880" v="152" actId="14100"/>
          <ac:cxnSpMkLst>
            <pc:docMk/>
            <pc:sldMk cId="2768833622" sldId="3350"/>
            <ac:cxnSpMk id="22" creationId="{3CE6C757-B50A-1B80-0ED3-B6CBE51478ED}"/>
          </ac:cxnSpMkLst>
        </pc:cxnChg>
        <pc:cxnChg chg="add mod">
          <ac:chgData name="Lilith Pokorra" userId="29887f1b-b715-413d-8f68-9084865f2962" providerId="ADAL" clId="{29D48E69-B3F7-4D80-9AFA-C93931CB47CC}" dt="2024-09-02T11:17:37.688" v="203" actId="14100"/>
          <ac:cxnSpMkLst>
            <pc:docMk/>
            <pc:sldMk cId="2768833622" sldId="3350"/>
            <ac:cxnSpMk id="24" creationId="{F0FCA3E7-147E-4CEC-07A1-4501A9F28945}"/>
          </ac:cxnSpMkLst>
        </pc:cxnChg>
        <pc:cxnChg chg="add mod">
          <ac:chgData name="Lilith Pokorra" userId="29887f1b-b715-413d-8f68-9084865f2962" providerId="ADAL" clId="{29D48E69-B3F7-4D80-9AFA-C93931CB47CC}" dt="2024-09-02T11:17:34.328" v="202" actId="14100"/>
          <ac:cxnSpMkLst>
            <pc:docMk/>
            <pc:sldMk cId="2768833622" sldId="3350"/>
            <ac:cxnSpMk id="25" creationId="{A79065DB-4FE9-D37B-0DC6-870A6D5B65F2}"/>
          </ac:cxnSpMkLst>
        </pc:cxnChg>
        <pc:cxnChg chg="del">
          <ac:chgData name="Lilith Pokorra" userId="29887f1b-b715-413d-8f68-9084865f2962" providerId="ADAL" clId="{29D48E69-B3F7-4D80-9AFA-C93931CB47CC}" dt="2024-09-02T11:16:38.583" v="150" actId="478"/>
          <ac:cxnSpMkLst>
            <pc:docMk/>
            <pc:sldMk cId="2768833622" sldId="3350"/>
            <ac:cxnSpMk id="36" creationId="{2CB2C10C-B12C-114A-225C-125828B27FF0}"/>
          </ac:cxnSpMkLst>
        </pc:cxnChg>
        <pc:cxnChg chg="mod">
          <ac:chgData name="Lilith Pokorra" userId="29887f1b-b715-413d-8f68-9084865f2962" providerId="ADAL" clId="{29D48E69-B3F7-4D80-9AFA-C93931CB47CC}" dt="2024-09-02T11:19:02.933" v="220" actId="208"/>
          <ac:cxnSpMkLst>
            <pc:docMk/>
            <pc:sldMk cId="2768833622" sldId="3350"/>
            <ac:cxnSpMk id="50" creationId="{8694F3A0-F348-D68C-563E-02525496465A}"/>
          </ac:cxnSpMkLst>
        </pc:cxnChg>
        <pc:cxnChg chg="mod">
          <ac:chgData name="Lilith Pokorra" userId="29887f1b-b715-413d-8f68-9084865f2962" providerId="ADAL" clId="{29D48E69-B3F7-4D80-9AFA-C93931CB47CC}" dt="2024-09-02T11:19:02.933" v="220" actId="208"/>
          <ac:cxnSpMkLst>
            <pc:docMk/>
            <pc:sldMk cId="2768833622" sldId="3350"/>
            <ac:cxnSpMk id="54" creationId="{1823856B-3D23-0305-7462-AE856884CF8B}"/>
          </ac:cxnSpMkLst>
        </pc:cxnChg>
      </pc:sldChg>
      <pc:sldChg chg="addSp delSp modSp add del mod ord modNotesTx">
        <pc:chgData name="Lilith Pokorra" userId="29887f1b-b715-413d-8f68-9084865f2962" providerId="ADAL" clId="{29D48E69-B3F7-4D80-9AFA-C93931CB47CC}" dt="2024-09-09T09:37:02.509" v="5227" actId="47"/>
        <pc:sldMkLst>
          <pc:docMk/>
          <pc:sldMk cId="1911972990" sldId="3351"/>
        </pc:sldMkLst>
        <pc:spChg chg="add mod">
          <ac:chgData name="Lilith Pokorra" userId="29887f1b-b715-413d-8f68-9084865f2962" providerId="ADAL" clId="{29D48E69-B3F7-4D80-9AFA-C93931CB47CC}" dt="2024-09-02T13:59:43.958" v="2413" actId="571"/>
          <ac:spMkLst>
            <pc:docMk/>
            <pc:sldMk cId="1911972990" sldId="3351"/>
            <ac:spMk id="2" creationId="{D89B2320-51AD-E0EF-33D0-32EE2298B7BF}"/>
          </ac:spMkLst>
        </pc:spChg>
        <pc:spChg chg="add mod">
          <ac:chgData name="Lilith Pokorra" userId="29887f1b-b715-413d-8f68-9084865f2962" providerId="ADAL" clId="{29D48E69-B3F7-4D80-9AFA-C93931CB47CC}" dt="2024-09-02T13:59:48.312" v="2425" actId="14100"/>
          <ac:spMkLst>
            <pc:docMk/>
            <pc:sldMk cId="1911972990" sldId="3351"/>
            <ac:spMk id="3" creationId="{0E6B1877-7569-2459-6B9A-042DE2833AD6}"/>
          </ac:spMkLst>
        </pc:spChg>
        <pc:spChg chg="mod">
          <ac:chgData name="Lilith Pokorra" userId="29887f1b-b715-413d-8f68-9084865f2962" providerId="ADAL" clId="{29D48E69-B3F7-4D80-9AFA-C93931CB47CC}" dt="2024-09-02T14:06:04.711" v="2513" actId="20577"/>
          <ac:spMkLst>
            <pc:docMk/>
            <pc:sldMk cId="1911972990" sldId="3351"/>
            <ac:spMk id="7" creationId="{59EE1449-7C33-3E99-0368-D5635CF00E2D}"/>
          </ac:spMkLst>
        </pc:spChg>
        <pc:spChg chg="mod">
          <ac:chgData name="Lilith Pokorra" userId="29887f1b-b715-413d-8f68-9084865f2962" providerId="ADAL" clId="{29D48E69-B3F7-4D80-9AFA-C93931CB47CC}" dt="2024-09-09T07:43:26.921" v="4100"/>
          <ac:spMkLst>
            <pc:docMk/>
            <pc:sldMk cId="1911972990" sldId="3351"/>
            <ac:spMk id="8" creationId="{AADCBA57-B396-1AB8-3D3D-61C3AFCD9780}"/>
          </ac:spMkLst>
        </pc:spChg>
        <pc:spChg chg="del">
          <ac:chgData name="Lilith Pokorra" userId="29887f1b-b715-413d-8f68-9084865f2962" providerId="ADAL" clId="{29D48E69-B3F7-4D80-9AFA-C93931CB47CC}" dt="2024-09-02T14:05:30.353" v="2497" actId="478"/>
          <ac:spMkLst>
            <pc:docMk/>
            <pc:sldMk cId="1911972990" sldId="3351"/>
            <ac:spMk id="11" creationId="{D9B79FCB-0063-CC21-37BF-140FBD5AD832}"/>
          </ac:spMkLst>
        </pc:spChg>
        <pc:spChg chg="mod">
          <ac:chgData name="Lilith Pokorra" userId="29887f1b-b715-413d-8f68-9084865f2962" providerId="ADAL" clId="{29D48E69-B3F7-4D80-9AFA-C93931CB47CC}" dt="2024-09-02T14:33:57.783" v="4083" actId="20577"/>
          <ac:spMkLst>
            <pc:docMk/>
            <pc:sldMk cId="1911972990" sldId="3351"/>
            <ac:spMk id="12" creationId="{65FFE56B-F5C3-8D54-5212-119673CA38E2}"/>
          </ac:spMkLst>
        </pc:spChg>
        <pc:spChg chg="add mod">
          <ac:chgData name="Lilith Pokorra" userId="29887f1b-b715-413d-8f68-9084865f2962" providerId="ADAL" clId="{29D48E69-B3F7-4D80-9AFA-C93931CB47CC}" dt="2024-09-02T14:01:45.411" v="2443" actId="20577"/>
          <ac:spMkLst>
            <pc:docMk/>
            <pc:sldMk cId="1911972990" sldId="3351"/>
            <ac:spMk id="14" creationId="{B65E86FE-C0E9-C981-503A-4207B2BBE0DE}"/>
          </ac:spMkLst>
        </pc:spChg>
        <pc:spChg chg="del">
          <ac:chgData name="Lilith Pokorra" userId="29887f1b-b715-413d-8f68-9084865f2962" providerId="ADAL" clId="{29D48E69-B3F7-4D80-9AFA-C93931CB47CC}" dt="2024-09-02T13:59:30.371" v="2400" actId="478"/>
          <ac:spMkLst>
            <pc:docMk/>
            <pc:sldMk cId="1911972990" sldId="3351"/>
            <ac:spMk id="15" creationId="{11127514-B632-209B-857B-F8E6FA70C1E8}"/>
          </ac:spMkLst>
        </pc:spChg>
        <pc:spChg chg="mod">
          <ac:chgData name="Lilith Pokorra" userId="29887f1b-b715-413d-8f68-9084865f2962" providerId="ADAL" clId="{29D48E69-B3F7-4D80-9AFA-C93931CB47CC}" dt="2024-09-02T13:59:43.958" v="2413" actId="571"/>
          <ac:spMkLst>
            <pc:docMk/>
            <pc:sldMk cId="1911972990" sldId="3351"/>
            <ac:spMk id="19" creationId="{4F3CCBE2-A3FC-E2D6-B691-4BF30E6835CA}"/>
          </ac:spMkLst>
        </pc:spChg>
        <pc:spChg chg="del">
          <ac:chgData name="Lilith Pokorra" userId="29887f1b-b715-413d-8f68-9084865f2962" providerId="ADAL" clId="{29D48E69-B3F7-4D80-9AFA-C93931CB47CC}" dt="2024-09-02T13:59:31.297" v="2401" actId="478"/>
          <ac:spMkLst>
            <pc:docMk/>
            <pc:sldMk cId="1911972990" sldId="3351"/>
            <ac:spMk id="21" creationId="{A8BF2F1F-5FC8-B091-CE0E-6313803C07EC}"/>
          </ac:spMkLst>
        </pc:spChg>
        <pc:spChg chg="del">
          <ac:chgData name="Lilith Pokorra" userId="29887f1b-b715-413d-8f68-9084865f2962" providerId="ADAL" clId="{29D48E69-B3F7-4D80-9AFA-C93931CB47CC}" dt="2024-09-02T13:59:28.052" v="2398" actId="478"/>
          <ac:spMkLst>
            <pc:docMk/>
            <pc:sldMk cId="1911972990" sldId="3351"/>
            <ac:spMk id="25" creationId="{23C62256-01D6-5ADE-62C2-1423A43D020A}"/>
          </ac:spMkLst>
        </pc:spChg>
        <pc:spChg chg="del">
          <ac:chgData name="Lilith Pokorra" userId="29887f1b-b715-413d-8f68-9084865f2962" providerId="ADAL" clId="{29D48E69-B3F7-4D80-9AFA-C93931CB47CC}" dt="2024-09-02T13:59:29.447" v="2399" actId="478"/>
          <ac:spMkLst>
            <pc:docMk/>
            <pc:sldMk cId="1911972990" sldId="3351"/>
            <ac:spMk id="27" creationId="{52197D87-DC67-D8F4-B150-837C4130E046}"/>
          </ac:spMkLst>
        </pc:spChg>
        <pc:spChg chg="del">
          <ac:chgData name="Lilith Pokorra" userId="29887f1b-b715-413d-8f68-9084865f2962" providerId="ADAL" clId="{29D48E69-B3F7-4D80-9AFA-C93931CB47CC}" dt="2024-09-02T13:59:23.479" v="2396" actId="478"/>
          <ac:spMkLst>
            <pc:docMk/>
            <pc:sldMk cId="1911972990" sldId="3351"/>
            <ac:spMk id="29" creationId="{DFFAFD04-A3AF-FBAF-16E2-18EC21EF6D1D}"/>
          </ac:spMkLst>
        </pc:spChg>
        <pc:grpChg chg="mod">
          <ac:chgData name="Lilith Pokorra" userId="29887f1b-b715-413d-8f68-9084865f2962" providerId="ADAL" clId="{29D48E69-B3F7-4D80-9AFA-C93931CB47CC}" dt="2024-09-02T14:05:33.198" v="2498" actId="1076"/>
          <ac:grpSpMkLst>
            <pc:docMk/>
            <pc:sldMk cId="1911972990" sldId="3351"/>
            <ac:grpSpMk id="10" creationId="{4BB81B36-F46D-F641-F73E-7380588D241D}"/>
          </ac:grpSpMkLst>
        </pc:grpChg>
        <pc:picChg chg="mod">
          <ac:chgData name="Lilith Pokorra" userId="29887f1b-b715-413d-8f68-9084865f2962" providerId="ADAL" clId="{29D48E69-B3F7-4D80-9AFA-C93931CB47CC}" dt="2024-09-02T13:59:43.958" v="2413" actId="571"/>
          <ac:picMkLst>
            <pc:docMk/>
            <pc:sldMk cId="1911972990" sldId="3351"/>
            <ac:picMk id="13" creationId="{C7044BB7-589F-E4C8-7931-B94E4F1E2BBE}"/>
          </ac:picMkLst>
        </pc:picChg>
        <pc:picChg chg="mod">
          <ac:chgData name="Lilith Pokorra" userId="29887f1b-b715-413d-8f68-9084865f2962" providerId="ADAL" clId="{29D48E69-B3F7-4D80-9AFA-C93931CB47CC}" dt="2024-09-02T13:59:43.958" v="2413" actId="571"/>
          <ac:picMkLst>
            <pc:docMk/>
            <pc:sldMk cId="1911972990" sldId="3351"/>
            <ac:picMk id="33" creationId="{4D8A8DD3-F55A-16BF-397E-558F39C3130A}"/>
          </ac:picMkLst>
        </pc:picChg>
        <pc:picChg chg="mod">
          <ac:chgData name="Lilith Pokorra" userId="29887f1b-b715-413d-8f68-9084865f2962" providerId="ADAL" clId="{29D48E69-B3F7-4D80-9AFA-C93931CB47CC}" dt="2024-09-02T13:59:43.958" v="2413" actId="571"/>
          <ac:picMkLst>
            <pc:docMk/>
            <pc:sldMk cId="1911972990" sldId="3351"/>
            <ac:picMk id="34" creationId="{46D17927-83BF-0A39-EC0D-5C7F6B4CA0AC}"/>
          </ac:picMkLst>
        </pc:picChg>
      </pc:sldChg>
      <pc:sldChg chg="addSp delSp modSp add del mod modNotesTx">
        <pc:chgData name="Lilith Pokorra" userId="29887f1b-b715-413d-8f68-9084865f2962" providerId="ADAL" clId="{29D48E69-B3F7-4D80-9AFA-C93931CB47CC}" dt="2024-09-09T09:37:02.509" v="5227" actId="47"/>
        <pc:sldMkLst>
          <pc:docMk/>
          <pc:sldMk cId="645036185" sldId="3352"/>
        </pc:sldMkLst>
        <pc:spChg chg="mod">
          <ac:chgData name="Lilith Pokorra" userId="29887f1b-b715-413d-8f68-9084865f2962" providerId="ADAL" clId="{29D48E69-B3F7-4D80-9AFA-C93931CB47CC}" dt="2024-09-02T14:00:19.376" v="2433" actId="571"/>
          <ac:spMkLst>
            <pc:docMk/>
            <pc:sldMk cId="645036185" sldId="3352"/>
            <ac:spMk id="2" creationId="{D89B2320-51AD-E0EF-33D0-32EE2298B7BF}"/>
          </ac:spMkLst>
        </pc:spChg>
        <pc:spChg chg="mod">
          <ac:chgData name="Lilith Pokorra" userId="29887f1b-b715-413d-8f68-9084865f2962" providerId="ADAL" clId="{29D48E69-B3F7-4D80-9AFA-C93931CB47CC}" dt="2024-09-02T14:00:19.376" v="2433" actId="571"/>
          <ac:spMkLst>
            <pc:docMk/>
            <pc:sldMk cId="645036185" sldId="3352"/>
            <ac:spMk id="3" creationId="{0E6B1877-7569-2459-6B9A-042DE2833AD6}"/>
          </ac:spMkLst>
        </pc:spChg>
        <pc:spChg chg="del">
          <ac:chgData name="Lilith Pokorra" userId="29887f1b-b715-413d-8f68-9084865f2962" providerId="ADAL" clId="{29D48E69-B3F7-4D80-9AFA-C93931CB47CC}" dt="2024-09-02T14:06:14.930" v="2514" actId="478"/>
          <ac:spMkLst>
            <pc:docMk/>
            <pc:sldMk cId="645036185" sldId="3352"/>
            <ac:spMk id="7" creationId="{59EE1449-7C33-3E99-0368-D5635CF00E2D}"/>
          </ac:spMkLst>
        </pc:spChg>
        <pc:spChg chg="mod">
          <ac:chgData name="Lilith Pokorra" userId="29887f1b-b715-413d-8f68-9084865f2962" providerId="ADAL" clId="{29D48E69-B3F7-4D80-9AFA-C93931CB47CC}" dt="2024-09-09T07:43:30.313" v="4101"/>
          <ac:spMkLst>
            <pc:docMk/>
            <pc:sldMk cId="645036185" sldId="3352"/>
            <ac:spMk id="8" creationId="{AADCBA57-B396-1AB8-3D3D-61C3AFCD9780}"/>
          </ac:spMkLst>
        </pc:spChg>
        <pc:spChg chg="mod">
          <ac:chgData name="Lilith Pokorra" userId="29887f1b-b715-413d-8f68-9084865f2962" providerId="ADAL" clId="{29D48E69-B3F7-4D80-9AFA-C93931CB47CC}" dt="2024-09-02T14:05:10.932" v="2494" actId="948"/>
          <ac:spMkLst>
            <pc:docMk/>
            <pc:sldMk cId="645036185" sldId="3352"/>
            <ac:spMk id="11" creationId="{D9B79FCB-0063-CC21-37BF-140FBD5AD832}"/>
          </ac:spMkLst>
        </pc:spChg>
        <pc:spChg chg="mod">
          <ac:chgData name="Lilith Pokorra" userId="29887f1b-b715-413d-8f68-9084865f2962" providerId="ADAL" clId="{29D48E69-B3F7-4D80-9AFA-C93931CB47CC}" dt="2024-09-02T14:33:53.406" v="4079" actId="20577"/>
          <ac:spMkLst>
            <pc:docMk/>
            <pc:sldMk cId="645036185" sldId="3352"/>
            <ac:spMk id="12" creationId="{65FFE56B-F5C3-8D54-5212-119673CA38E2}"/>
          </ac:spMkLst>
        </pc:spChg>
        <pc:spChg chg="mod">
          <ac:chgData name="Lilith Pokorra" userId="29887f1b-b715-413d-8f68-9084865f2962" providerId="ADAL" clId="{29D48E69-B3F7-4D80-9AFA-C93931CB47CC}" dt="2024-09-02T14:00:09.709" v="2430" actId="571"/>
          <ac:spMkLst>
            <pc:docMk/>
            <pc:sldMk cId="645036185" sldId="3352"/>
            <ac:spMk id="17" creationId="{ED93B09A-92E1-F480-AA8E-20EB6D1FE835}"/>
          </ac:spMkLst>
        </pc:spChg>
        <pc:spChg chg="mod">
          <ac:chgData name="Lilith Pokorra" userId="29887f1b-b715-413d-8f68-9084865f2962" providerId="ADAL" clId="{29D48E69-B3F7-4D80-9AFA-C93931CB47CC}" dt="2024-09-02T14:00:19.376" v="2433" actId="571"/>
          <ac:spMkLst>
            <pc:docMk/>
            <pc:sldMk cId="645036185" sldId="3352"/>
            <ac:spMk id="19" creationId="{4F3CCBE2-A3FC-E2D6-B691-4BF30E6835CA}"/>
          </ac:spMkLst>
        </pc:spChg>
        <pc:spChg chg="mod">
          <ac:chgData name="Lilith Pokorra" userId="29887f1b-b715-413d-8f68-9084865f2962" providerId="ADAL" clId="{29D48E69-B3F7-4D80-9AFA-C93931CB47CC}" dt="2024-09-02T14:00:09.709" v="2430" actId="571"/>
          <ac:spMkLst>
            <pc:docMk/>
            <pc:sldMk cId="645036185" sldId="3352"/>
            <ac:spMk id="20" creationId="{8C8142F1-2EEA-4154-0AA6-D9D0F4FE5AE7}"/>
          </ac:spMkLst>
        </pc:spChg>
        <pc:spChg chg="mod">
          <ac:chgData name="Lilith Pokorra" userId="29887f1b-b715-413d-8f68-9084865f2962" providerId="ADAL" clId="{29D48E69-B3F7-4D80-9AFA-C93931CB47CC}" dt="2024-09-02T14:00:09.709" v="2430" actId="571"/>
          <ac:spMkLst>
            <pc:docMk/>
            <pc:sldMk cId="645036185" sldId="3352"/>
            <ac:spMk id="21" creationId="{4DBC3EB6-D5B7-B674-C3AE-5E7CB59F0F4D}"/>
          </ac:spMkLst>
        </pc:spChg>
        <pc:spChg chg="add mod">
          <ac:chgData name="Lilith Pokorra" userId="29887f1b-b715-413d-8f68-9084865f2962" providerId="ADAL" clId="{29D48E69-B3F7-4D80-9AFA-C93931CB47CC}" dt="2024-09-02T14:03:50.942" v="2473" actId="14100"/>
          <ac:spMkLst>
            <pc:docMk/>
            <pc:sldMk cId="645036185" sldId="3352"/>
            <ac:spMk id="23" creationId="{DB52F9BC-996C-620E-37D5-1F979B2C52CA}"/>
          </ac:spMkLst>
        </pc:spChg>
        <pc:spChg chg="add mod">
          <ac:chgData name="Lilith Pokorra" userId="29887f1b-b715-413d-8f68-9084865f2962" providerId="ADAL" clId="{29D48E69-B3F7-4D80-9AFA-C93931CB47CC}" dt="2024-09-02T14:04:20.086" v="2482" actId="20577"/>
          <ac:spMkLst>
            <pc:docMk/>
            <pc:sldMk cId="645036185" sldId="3352"/>
            <ac:spMk id="25" creationId="{A6709739-69ED-2B90-D072-A3623348ABFD}"/>
          </ac:spMkLst>
        </pc:spChg>
        <pc:spChg chg="add mod">
          <ac:chgData name="Lilith Pokorra" userId="29887f1b-b715-413d-8f68-9084865f2962" providerId="ADAL" clId="{29D48E69-B3F7-4D80-9AFA-C93931CB47CC}" dt="2024-09-02T14:05:25.653" v="2496" actId="1076"/>
          <ac:spMkLst>
            <pc:docMk/>
            <pc:sldMk cId="645036185" sldId="3352"/>
            <ac:spMk id="26" creationId="{5D40D4CC-7E3E-04F1-1F4A-CAA914B2CF85}"/>
          </ac:spMkLst>
        </pc:spChg>
        <pc:spChg chg="add mod">
          <ac:chgData name="Lilith Pokorra" userId="29887f1b-b715-413d-8f68-9084865f2962" providerId="ADAL" clId="{29D48E69-B3F7-4D80-9AFA-C93931CB47CC}" dt="2024-09-02T14:06:15.154" v="2515"/>
          <ac:spMkLst>
            <pc:docMk/>
            <pc:sldMk cId="645036185" sldId="3352"/>
            <ac:spMk id="27" creationId="{82E728BC-69EE-C257-E7A7-FB161B9DE5C2}"/>
          </ac:spMkLst>
        </pc:spChg>
        <pc:grpChg chg="mod">
          <ac:chgData name="Lilith Pokorra" userId="29887f1b-b715-413d-8f68-9084865f2962" providerId="ADAL" clId="{29D48E69-B3F7-4D80-9AFA-C93931CB47CC}" dt="2024-09-02T14:00:19.376" v="2433" actId="571"/>
          <ac:grpSpMkLst>
            <pc:docMk/>
            <pc:sldMk cId="645036185" sldId="3352"/>
            <ac:grpSpMk id="10" creationId="{4BB81B36-F46D-F641-F73E-7380588D241D}"/>
          </ac:grpSpMkLst>
        </pc:grpChg>
        <pc:grpChg chg="add mod">
          <ac:chgData name="Lilith Pokorra" userId="29887f1b-b715-413d-8f68-9084865f2962" providerId="ADAL" clId="{29D48E69-B3F7-4D80-9AFA-C93931CB47CC}" dt="2024-09-02T14:00:09.709" v="2430" actId="571"/>
          <ac:grpSpMkLst>
            <pc:docMk/>
            <pc:sldMk cId="645036185" sldId="3352"/>
            <ac:grpSpMk id="14" creationId="{7196B9CF-3E7B-9283-2868-803B3403754F}"/>
          </ac:grpSpMkLst>
        </pc:grpChg>
        <pc:picChg chg="mod">
          <ac:chgData name="Lilith Pokorra" userId="29887f1b-b715-413d-8f68-9084865f2962" providerId="ADAL" clId="{29D48E69-B3F7-4D80-9AFA-C93931CB47CC}" dt="2024-09-02T14:03:15.524" v="2457" actId="14826"/>
          <ac:picMkLst>
            <pc:docMk/>
            <pc:sldMk cId="645036185" sldId="3352"/>
            <ac:picMk id="13" creationId="{C7044BB7-589F-E4C8-7931-B94E4F1E2BBE}"/>
          </ac:picMkLst>
        </pc:picChg>
        <pc:picChg chg="mod">
          <ac:chgData name="Lilith Pokorra" userId="29887f1b-b715-413d-8f68-9084865f2962" providerId="ADAL" clId="{29D48E69-B3F7-4D80-9AFA-C93931CB47CC}" dt="2024-09-02T14:00:09.709" v="2430" actId="571"/>
          <ac:picMkLst>
            <pc:docMk/>
            <pc:sldMk cId="645036185" sldId="3352"/>
            <ac:picMk id="15" creationId="{29F605E0-4DBD-0962-0295-88AB52301EF1}"/>
          </ac:picMkLst>
        </pc:picChg>
        <pc:picChg chg="mod">
          <ac:chgData name="Lilith Pokorra" userId="29887f1b-b715-413d-8f68-9084865f2962" providerId="ADAL" clId="{29D48E69-B3F7-4D80-9AFA-C93931CB47CC}" dt="2024-09-02T14:00:09.709" v="2430" actId="571"/>
          <ac:picMkLst>
            <pc:docMk/>
            <pc:sldMk cId="645036185" sldId="3352"/>
            <ac:picMk id="16" creationId="{C8898C57-D2D3-810C-A5D1-F2C32AC81528}"/>
          </ac:picMkLst>
        </pc:picChg>
        <pc:picChg chg="mod">
          <ac:chgData name="Lilith Pokorra" userId="29887f1b-b715-413d-8f68-9084865f2962" providerId="ADAL" clId="{29D48E69-B3F7-4D80-9AFA-C93931CB47CC}" dt="2024-09-02T14:00:09.709" v="2430" actId="571"/>
          <ac:picMkLst>
            <pc:docMk/>
            <pc:sldMk cId="645036185" sldId="3352"/>
            <ac:picMk id="18" creationId="{11604869-57C5-29B7-4680-524CE6C3B5D1}"/>
          </ac:picMkLst>
        </pc:picChg>
        <pc:picChg chg="add mod">
          <ac:chgData name="Lilith Pokorra" userId="29887f1b-b715-413d-8f68-9084865f2962" providerId="ADAL" clId="{29D48E69-B3F7-4D80-9AFA-C93931CB47CC}" dt="2024-09-02T14:03:44.817" v="2458" actId="14826"/>
          <ac:picMkLst>
            <pc:docMk/>
            <pc:sldMk cId="645036185" sldId="3352"/>
            <ac:picMk id="22" creationId="{7D8CDA41-CF23-CBAE-9FF9-0BB209210019}"/>
          </ac:picMkLst>
        </pc:picChg>
        <pc:picChg chg="add mod">
          <ac:chgData name="Lilith Pokorra" userId="29887f1b-b715-413d-8f68-9084865f2962" providerId="ADAL" clId="{29D48E69-B3F7-4D80-9AFA-C93931CB47CC}" dt="2024-09-02T14:04:17.785" v="2474" actId="14826"/>
          <ac:picMkLst>
            <pc:docMk/>
            <pc:sldMk cId="645036185" sldId="3352"/>
            <ac:picMk id="24" creationId="{1C461157-27F2-E12A-2B51-27F6BA646846}"/>
          </ac:picMkLst>
        </pc:picChg>
        <pc:picChg chg="mod">
          <ac:chgData name="Lilith Pokorra" userId="29887f1b-b715-413d-8f68-9084865f2962" providerId="ADAL" clId="{29D48E69-B3F7-4D80-9AFA-C93931CB47CC}" dt="2024-09-02T14:02:24.750" v="2455" actId="14826"/>
          <ac:picMkLst>
            <pc:docMk/>
            <pc:sldMk cId="645036185" sldId="3352"/>
            <ac:picMk id="33" creationId="{4D8A8DD3-F55A-16BF-397E-558F39C3130A}"/>
          </ac:picMkLst>
        </pc:picChg>
        <pc:picChg chg="mod">
          <ac:chgData name="Lilith Pokorra" userId="29887f1b-b715-413d-8f68-9084865f2962" providerId="ADAL" clId="{29D48E69-B3F7-4D80-9AFA-C93931CB47CC}" dt="2024-09-02T14:02:46.447" v="2456" actId="14826"/>
          <ac:picMkLst>
            <pc:docMk/>
            <pc:sldMk cId="645036185" sldId="3352"/>
            <ac:picMk id="34" creationId="{46D17927-83BF-0A39-EC0D-5C7F6B4CA0AC}"/>
          </ac:picMkLst>
        </pc:picChg>
      </pc:sldChg>
      <pc:sldChg chg="addSp delSp modSp add mod modAnim modNotesTx">
        <pc:chgData name="Lilith Pokorra" userId="29887f1b-b715-413d-8f68-9084865f2962" providerId="ADAL" clId="{29D48E69-B3F7-4D80-9AFA-C93931CB47CC}" dt="2024-09-17T11:56:29.645" v="8189" actId="20577"/>
        <pc:sldMkLst>
          <pc:docMk/>
          <pc:sldMk cId="1750614785" sldId="3353"/>
        </pc:sldMkLst>
        <pc:spChg chg="del">
          <ac:chgData name="Lilith Pokorra" userId="29887f1b-b715-413d-8f68-9084865f2962" providerId="ADAL" clId="{29D48E69-B3F7-4D80-9AFA-C93931CB47CC}" dt="2024-09-09T07:45:07.573" v="4108" actId="478"/>
          <ac:spMkLst>
            <pc:docMk/>
            <pc:sldMk cId="1750614785" sldId="3353"/>
            <ac:spMk id="4" creationId="{400EEE8F-0861-9F70-8ED4-1DE8FB5E8556}"/>
          </ac:spMkLst>
        </pc:spChg>
        <pc:spChg chg="add mod">
          <ac:chgData name="Lilith Pokorra" userId="29887f1b-b715-413d-8f68-9084865f2962" providerId="ADAL" clId="{29D48E69-B3F7-4D80-9AFA-C93931CB47CC}" dt="2024-09-09T07:49:19.015" v="4172" actId="14100"/>
          <ac:spMkLst>
            <pc:docMk/>
            <pc:sldMk cId="1750614785" sldId="3353"/>
            <ac:spMk id="9" creationId="{A1731A0D-F595-E3F8-F7C9-172D2F920D60}"/>
          </ac:spMkLst>
        </pc:spChg>
        <pc:spChg chg="del">
          <ac:chgData name="Lilith Pokorra" userId="29887f1b-b715-413d-8f68-9084865f2962" providerId="ADAL" clId="{29D48E69-B3F7-4D80-9AFA-C93931CB47CC}" dt="2024-09-09T07:45:07.573" v="4108" actId="478"/>
          <ac:spMkLst>
            <pc:docMk/>
            <pc:sldMk cId="1750614785" sldId="3353"/>
            <ac:spMk id="10" creationId="{F7B6EEA7-F551-7048-5085-5D7C9D8BAECB}"/>
          </ac:spMkLst>
        </pc:spChg>
        <pc:spChg chg="mod">
          <ac:chgData name="Lilith Pokorra" userId="29887f1b-b715-413d-8f68-9084865f2962" providerId="ADAL" clId="{29D48E69-B3F7-4D80-9AFA-C93931CB47CC}" dt="2024-09-09T07:51:21.689" v="4191"/>
          <ac:spMkLst>
            <pc:docMk/>
            <pc:sldMk cId="1750614785" sldId="3353"/>
            <ac:spMk id="11" creationId="{FF27579C-64D9-6E8E-76D3-CB3A31A68839}"/>
          </ac:spMkLst>
        </pc:spChg>
        <pc:spChg chg="del">
          <ac:chgData name="Lilith Pokorra" userId="29887f1b-b715-413d-8f68-9084865f2962" providerId="ADAL" clId="{29D48E69-B3F7-4D80-9AFA-C93931CB47CC}" dt="2024-09-09T07:49:59.011" v="4173" actId="478"/>
          <ac:spMkLst>
            <pc:docMk/>
            <pc:sldMk cId="1750614785" sldId="3353"/>
            <ac:spMk id="12" creationId="{17ECC90C-3A3D-1539-EF4B-3578DF003DCB}"/>
          </ac:spMkLst>
        </pc:spChg>
        <pc:spChg chg="del">
          <ac:chgData name="Lilith Pokorra" userId="29887f1b-b715-413d-8f68-9084865f2962" providerId="ADAL" clId="{29D48E69-B3F7-4D80-9AFA-C93931CB47CC}" dt="2024-09-09T07:45:08.858" v="4109" actId="478"/>
          <ac:spMkLst>
            <pc:docMk/>
            <pc:sldMk cId="1750614785" sldId="3353"/>
            <ac:spMk id="13" creationId="{16AD64C1-DCF7-7CDB-1A14-9B5944A20A4E}"/>
          </ac:spMkLst>
        </pc:spChg>
        <pc:spChg chg="add mod">
          <ac:chgData name="Lilith Pokorra" userId="29887f1b-b715-413d-8f68-9084865f2962" providerId="ADAL" clId="{29D48E69-B3F7-4D80-9AFA-C93931CB47CC}" dt="2024-09-09T07:49:16.206" v="4171" actId="14100"/>
          <ac:spMkLst>
            <pc:docMk/>
            <pc:sldMk cId="1750614785" sldId="3353"/>
            <ac:spMk id="15" creationId="{2AD24335-C5B6-3933-41BD-F865CC984EAF}"/>
          </ac:spMkLst>
        </pc:spChg>
        <pc:spChg chg="del">
          <ac:chgData name="Lilith Pokorra" userId="29887f1b-b715-413d-8f68-9084865f2962" providerId="ADAL" clId="{29D48E69-B3F7-4D80-9AFA-C93931CB47CC}" dt="2024-09-09T07:45:09.650" v="4110" actId="478"/>
          <ac:spMkLst>
            <pc:docMk/>
            <pc:sldMk cId="1750614785" sldId="3353"/>
            <ac:spMk id="19" creationId="{581DA683-B2B8-A8DE-122F-B4AC7A725466}"/>
          </ac:spMkLst>
        </pc:spChg>
        <pc:spChg chg="del">
          <ac:chgData name="Lilith Pokorra" userId="29887f1b-b715-413d-8f68-9084865f2962" providerId="ADAL" clId="{29D48E69-B3F7-4D80-9AFA-C93931CB47CC}" dt="2024-09-09T07:45:07.573" v="4108" actId="478"/>
          <ac:spMkLst>
            <pc:docMk/>
            <pc:sldMk cId="1750614785" sldId="3353"/>
            <ac:spMk id="29" creationId="{FB9F853D-504E-ED33-D639-2B2D7954967A}"/>
          </ac:spMkLst>
        </pc:spChg>
        <pc:picChg chg="del">
          <ac:chgData name="Lilith Pokorra" userId="29887f1b-b715-413d-8f68-9084865f2962" providerId="ADAL" clId="{29D48E69-B3F7-4D80-9AFA-C93931CB47CC}" dt="2024-09-09T07:45:07.573" v="4108" actId="478"/>
          <ac:picMkLst>
            <pc:docMk/>
            <pc:sldMk cId="1750614785" sldId="3353"/>
            <ac:picMk id="2" creationId="{B1285750-3B64-08D1-99C2-CC50B3CD93BC}"/>
          </ac:picMkLst>
        </pc:picChg>
        <pc:picChg chg="add mod">
          <ac:chgData name="Lilith Pokorra" userId="29887f1b-b715-413d-8f68-9084865f2962" providerId="ADAL" clId="{29D48E69-B3F7-4D80-9AFA-C93931CB47CC}" dt="2024-09-09T07:45:19.189" v="4112"/>
          <ac:picMkLst>
            <pc:docMk/>
            <pc:sldMk cId="1750614785" sldId="3353"/>
            <ac:picMk id="7" creationId="{38675263-5882-B77E-3D5E-5838E9F7EA3B}"/>
          </ac:picMkLst>
        </pc:picChg>
        <pc:cxnChg chg="del">
          <ac:chgData name="Lilith Pokorra" userId="29887f1b-b715-413d-8f68-9084865f2962" providerId="ADAL" clId="{29D48E69-B3F7-4D80-9AFA-C93931CB47CC}" dt="2024-09-09T07:45:07.573" v="4108" actId="478"/>
          <ac:cxnSpMkLst>
            <pc:docMk/>
            <pc:sldMk cId="1750614785" sldId="3353"/>
            <ac:cxnSpMk id="8" creationId="{3EB7BE9B-C805-44AD-4848-4B8B15EF93C1}"/>
          </ac:cxnSpMkLst>
        </pc:cxnChg>
        <pc:cxnChg chg="del mod">
          <ac:chgData name="Lilith Pokorra" userId="29887f1b-b715-413d-8f68-9084865f2962" providerId="ADAL" clId="{29D48E69-B3F7-4D80-9AFA-C93931CB47CC}" dt="2024-09-09T07:45:07.573" v="4108" actId="478"/>
          <ac:cxnSpMkLst>
            <pc:docMk/>
            <pc:sldMk cId="1750614785" sldId="3353"/>
            <ac:cxnSpMk id="14" creationId="{445BA92E-F810-329D-C39C-B47DD21723A6}"/>
          </ac:cxnSpMkLst>
        </pc:cxnChg>
        <pc:cxnChg chg="del">
          <ac:chgData name="Lilith Pokorra" userId="29887f1b-b715-413d-8f68-9084865f2962" providerId="ADAL" clId="{29D48E69-B3F7-4D80-9AFA-C93931CB47CC}" dt="2024-09-09T07:45:07.573" v="4108" actId="478"/>
          <ac:cxnSpMkLst>
            <pc:docMk/>
            <pc:sldMk cId="1750614785" sldId="3353"/>
            <ac:cxnSpMk id="22" creationId="{3CE6C757-B50A-1B80-0ED3-B6CBE51478ED}"/>
          </ac:cxnSpMkLst>
        </pc:cxnChg>
        <pc:cxnChg chg="del">
          <ac:chgData name="Lilith Pokorra" userId="29887f1b-b715-413d-8f68-9084865f2962" providerId="ADAL" clId="{29D48E69-B3F7-4D80-9AFA-C93931CB47CC}" dt="2024-09-09T07:45:07.573" v="4108" actId="478"/>
          <ac:cxnSpMkLst>
            <pc:docMk/>
            <pc:sldMk cId="1750614785" sldId="3353"/>
            <ac:cxnSpMk id="24" creationId="{F0FCA3E7-147E-4CEC-07A1-4501A9F28945}"/>
          </ac:cxnSpMkLst>
        </pc:cxnChg>
        <pc:cxnChg chg="del mod">
          <ac:chgData name="Lilith Pokorra" userId="29887f1b-b715-413d-8f68-9084865f2962" providerId="ADAL" clId="{29D48E69-B3F7-4D80-9AFA-C93931CB47CC}" dt="2024-09-09T07:45:07.573" v="4108" actId="478"/>
          <ac:cxnSpMkLst>
            <pc:docMk/>
            <pc:sldMk cId="1750614785" sldId="3353"/>
            <ac:cxnSpMk id="25" creationId="{A79065DB-4FE9-D37B-0DC6-870A6D5B65F2}"/>
          </ac:cxnSpMkLst>
        </pc:cxnChg>
        <pc:cxnChg chg="del">
          <ac:chgData name="Lilith Pokorra" userId="29887f1b-b715-413d-8f68-9084865f2962" providerId="ADAL" clId="{29D48E69-B3F7-4D80-9AFA-C93931CB47CC}" dt="2024-09-09T07:45:07.573" v="4108" actId="478"/>
          <ac:cxnSpMkLst>
            <pc:docMk/>
            <pc:sldMk cId="1750614785" sldId="3353"/>
            <ac:cxnSpMk id="50" creationId="{8694F3A0-F348-D68C-563E-02525496465A}"/>
          </ac:cxnSpMkLst>
        </pc:cxnChg>
        <pc:cxnChg chg="del">
          <ac:chgData name="Lilith Pokorra" userId="29887f1b-b715-413d-8f68-9084865f2962" providerId="ADAL" clId="{29D48E69-B3F7-4D80-9AFA-C93931CB47CC}" dt="2024-09-09T07:45:07.573" v="4108" actId="478"/>
          <ac:cxnSpMkLst>
            <pc:docMk/>
            <pc:sldMk cId="1750614785" sldId="3353"/>
            <ac:cxnSpMk id="54" creationId="{1823856B-3D23-0305-7462-AE856884CF8B}"/>
          </ac:cxnSpMkLst>
        </pc:cxnChg>
      </pc:sldChg>
      <pc:sldChg chg="addSp delSp modSp add mod ord delAnim modAnim modNotesTx">
        <pc:chgData name="Lilith Pokorra" userId="29887f1b-b715-413d-8f68-9084865f2962" providerId="ADAL" clId="{29D48E69-B3F7-4D80-9AFA-C93931CB47CC}" dt="2024-09-09T09:35:22.192" v="5072" actId="1076"/>
        <pc:sldMkLst>
          <pc:docMk/>
          <pc:sldMk cId="402030902" sldId="3354"/>
        </pc:sldMkLst>
        <pc:spChg chg="add del mod">
          <ac:chgData name="Lilith Pokorra" userId="29887f1b-b715-413d-8f68-9084865f2962" providerId="ADAL" clId="{29D48E69-B3F7-4D80-9AFA-C93931CB47CC}" dt="2024-09-09T07:50:32.288" v="4180" actId="478"/>
          <ac:spMkLst>
            <pc:docMk/>
            <pc:sldMk cId="402030902" sldId="3354"/>
            <ac:spMk id="4" creationId="{24B1F103-2A9F-A109-F1A8-06C3B18CD797}"/>
          </ac:spMkLst>
        </pc:spChg>
        <pc:spChg chg="mod">
          <ac:chgData name="Lilith Pokorra" userId="29887f1b-b715-413d-8f68-9084865f2962" providerId="ADAL" clId="{29D48E69-B3F7-4D80-9AFA-C93931CB47CC}" dt="2024-09-09T08:17:03.181" v="4645" actId="14100"/>
          <ac:spMkLst>
            <pc:docMk/>
            <pc:sldMk cId="402030902" sldId="3354"/>
            <ac:spMk id="9" creationId="{A1731A0D-F595-E3F8-F7C9-172D2F920D60}"/>
          </ac:spMkLst>
        </pc:spChg>
        <pc:spChg chg="mod">
          <ac:chgData name="Lilith Pokorra" userId="29887f1b-b715-413d-8f68-9084865f2962" providerId="ADAL" clId="{29D48E69-B3F7-4D80-9AFA-C93931CB47CC}" dt="2024-09-09T07:51:29.774" v="4201" actId="20577"/>
          <ac:spMkLst>
            <pc:docMk/>
            <pc:sldMk cId="402030902" sldId="3354"/>
            <ac:spMk id="11" creationId="{FF27579C-64D9-6E8E-76D3-CB3A31A68839}"/>
          </ac:spMkLst>
        </pc:spChg>
        <pc:spChg chg="add del mod">
          <ac:chgData name="Lilith Pokorra" userId="29887f1b-b715-413d-8f68-9084865f2962" providerId="ADAL" clId="{29D48E69-B3F7-4D80-9AFA-C93931CB47CC}" dt="2024-09-09T08:13:22.838" v="4616" actId="478"/>
          <ac:spMkLst>
            <pc:docMk/>
            <pc:sldMk cId="402030902" sldId="3354"/>
            <ac:spMk id="12" creationId="{53CA531C-182C-7B01-BABA-86DE957C279F}"/>
          </ac:spMkLst>
        </pc:spChg>
        <pc:spChg chg="add mod">
          <ac:chgData name="Lilith Pokorra" userId="29887f1b-b715-413d-8f68-9084865f2962" providerId="ADAL" clId="{29D48E69-B3F7-4D80-9AFA-C93931CB47CC}" dt="2024-09-09T09:35:22.192" v="5072" actId="1076"/>
          <ac:spMkLst>
            <pc:docMk/>
            <pc:sldMk cId="402030902" sldId="3354"/>
            <ac:spMk id="14" creationId="{574B3483-3E24-B55A-9561-ADC20C45F58B}"/>
          </ac:spMkLst>
        </pc:spChg>
        <pc:spChg chg="del">
          <ac:chgData name="Lilith Pokorra" userId="29887f1b-b715-413d-8f68-9084865f2962" providerId="ADAL" clId="{29D48E69-B3F7-4D80-9AFA-C93931CB47CC}" dt="2024-09-09T07:50:52.644" v="4188" actId="478"/>
          <ac:spMkLst>
            <pc:docMk/>
            <pc:sldMk cId="402030902" sldId="3354"/>
            <ac:spMk id="15" creationId="{2AD24335-C5B6-3933-41BD-F865CC984EAF}"/>
          </ac:spMkLst>
        </pc:spChg>
        <pc:spChg chg="add mod">
          <ac:chgData name="Lilith Pokorra" userId="29887f1b-b715-413d-8f68-9084865f2962" providerId="ADAL" clId="{29D48E69-B3F7-4D80-9AFA-C93931CB47CC}" dt="2024-09-09T08:15:30.785" v="4642"/>
          <ac:spMkLst>
            <pc:docMk/>
            <pc:sldMk cId="402030902" sldId="3354"/>
            <ac:spMk id="17" creationId="{8E745F03-B4EF-E324-38C7-ADE72ABFE4DB}"/>
          </ac:spMkLst>
        </pc:spChg>
        <pc:spChg chg="del">
          <ac:chgData name="Lilith Pokorra" userId="29887f1b-b715-413d-8f68-9084865f2962" providerId="ADAL" clId="{29D48E69-B3F7-4D80-9AFA-C93931CB47CC}" dt="2024-09-09T08:15:30.636" v="4641" actId="478"/>
          <ac:spMkLst>
            <pc:docMk/>
            <pc:sldMk cId="402030902" sldId="3354"/>
            <ac:spMk id="21" creationId="{1EC4E7F7-E37C-FB9E-7BF9-DF10C02D03C5}"/>
          </ac:spMkLst>
        </pc:spChg>
        <pc:grpChg chg="add mod">
          <ac:chgData name="Lilith Pokorra" userId="29887f1b-b715-413d-8f68-9084865f2962" providerId="ADAL" clId="{29D48E69-B3F7-4D80-9AFA-C93931CB47CC}" dt="2024-09-09T08:15:25.919" v="4640" actId="1076"/>
          <ac:grpSpMkLst>
            <pc:docMk/>
            <pc:sldMk cId="402030902" sldId="3354"/>
            <ac:grpSpMk id="16" creationId="{43F33ED2-5557-84A9-EDA3-7F8EFD77B4AD}"/>
          </ac:grpSpMkLst>
        </pc:grpChg>
        <pc:picChg chg="del">
          <ac:chgData name="Lilith Pokorra" userId="29887f1b-b715-413d-8f68-9084865f2962" providerId="ADAL" clId="{29D48E69-B3F7-4D80-9AFA-C93931CB47CC}" dt="2024-09-09T07:50:29.665" v="4179" actId="478"/>
          <ac:picMkLst>
            <pc:docMk/>
            <pc:sldMk cId="402030902" sldId="3354"/>
            <ac:picMk id="7" creationId="{38675263-5882-B77E-3D5E-5838E9F7EA3B}"/>
          </ac:picMkLst>
        </pc:picChg>
        <pc:picChg chg="add mod">
          <ac:chgData name="Lilith Pokorra" userId="29887f1b-b715-413d-8f68-9084865f2962" providerId="ADAL" clId="{29D48E69-B3F7-4D80-9AFA-C93931CB47CC}" dt="2024-09-09T07:50:35.087" v="4181"/>
          <ac:picMkLst>
            <pc:docMk/>
            <pc:sldMk cId="402030902" sldId="3354"/>
            <ac:picMk id="8" creationId="{A2951DC8-A8C6-B8A8-47EA-D5B747F50393}"/>
          </ac:picMkLst>
        </pc:picChg>
        <pc:picChg chg="add mod ord">
          <ac:chgData name="Lilith Pokorra" userId="29887f1b-b715-413d-8f68-9084865f2962" providerId="ADAL" clId="{29D48E69-B3F7-4D80-9AFA-C93931CB47CC}" dt="2024-09-09T07:50:50.577" v="4187" actId="167"/>
          <ac:picMkLst>
            <pc:docMk/>
            <pc:sldMk cId="402030902" sldId="3354"/>
            <ac:picMk id="10" creationId="{4A4E1D88-B17B-1DE6-A511-749E54E69262}"/>
          </ac:picMkLst>
        </pc:picChg>
      </pc:sldChg>
      <pc:sldChg chg="addSp delSp modSp add mod">
        <pc:chgData name="Lilith Pokorra" userId="29887f1b-b715-413d-8f68-9084865f2962" providerId="ADAL" clId="{29D48E69-B3F7-4D80-9AFA-C93931CB47CC}" dt="2024-09-09T09:38:58.206" v="5229" actId="21"/>
        <pc:sldMkLst>
          <pc:docMk/>
          <pc:sldMk cId="716235221" sldId="3355"/>
        </pc:sldMkLst>
        <pc:spChg chg="add mod">
          <ac:chgData name="Lilith Pokorra" userId="29887f1b-b715-413d-8f68-9084865f2962" providerId="ADAL" clId="{29D48E69-B3F7-4D80-9AFA-C93931CB47CC}" dt="2024-09-09T09:34:26.326" v="4990" actId="1076"/>
          <ac:spMkLst>
            <pc:docMk/>
            <pc:sldMk cId="716235221" sldId="3355"/>
            <ac:spMk id="2" creationId="{D9114492-C058-1894-5FFB-07F7869E41C0}"/>
          </ac:spMkLst>
        </pc:spChg>
        <pc:spChg chg="add mod">
          <ac:chgData name="Lilith Pokorra" userId="29887f1b-b715-413d-8f68-9084865f2962" providerId="ADAL" clId="{29D48E69-B3F7-4D80-9AFA-C93931CB47CC}" dt="2024-09-09T09:34:23.757" v="4989" actId="1076"/>
          <ac:spMkLst>
            <pc:docMk/>
            <pc:sldMk cId="716235221" sldId="3355"/>
            <ac:spMk id="4" creationId="{D43347C0-CDCD-7E95-DEC2-D518E8C5402D}"/>
          </ac:spMkLst>
        </pc:spChg>
        <pc:spChg chg="add mod">
          <ac:chgData name="Lilith Pokorra" userId="29887f1b-b715-413d-8f68-9084865f2962" providerId="ADAL" clId="{29D48E69-B3F7-4D80-9AFA-C93931CB47CC}" dt="2024-09-09T09:34:29.551" v="4991" actId="1076"/>
          <ac:spMkLst>
            <pc:docMk/>
            <pc:sldMk cId="716235221" sldId="3355"/>
            <ac:spMk id="7" creationId="{1012F5EC-C574-C1FA-C84E-7E4BF432EF5B}"/>
          </ac:spMkLst>
        </pc:spChg>
        <pc:spChg chg="add mod">
          <ac:chgData name="Lilith Pokorra" userId="29887f1b-b715-413d-8f68-9084865f2962" providerId="ADAL" clId="{29D48E69-B3F7-4D80-9AFA-C93931CB47CC}" dt="2024-09-09T09:34:20.818" v="4988" actId="1076"/>
          <ac:spMkLst>
            <pc:docMk/>
            <pc:sldMk cId="716235221" sldId="3355"/>
            <ac:spMk id="8" creationId="{BC81776B-DCBC-7191-0200-2767AA93F73C}"/>
          </ac:spMkLst>
        </pc:spChg>
        <pc:spChg chg="mod">
          <ac:chgData name="Lilith Pokorra" userId="29887f1b-b715-413d-8f68-9084865f2962" providerId="ADAL" clId="{29D48E69-B3F7-4D80-9AFA-C93931CB47CC}" dt="2024-09-09T09:35:32.589" v="5074"/>
          <ac:spMkLst>
            <pc:docMk/>
            <pc:sldMk cId="716235221" sldId="3355"/>
            <ac:spMk id="13" creationId="{0085DDDA-953D-E6D5-B041-819AC56DB9CD}"/>
          </ac:spMkLst>
        </pc:spChg>
        <pc:spChg chg="mod">
          <ac:chgData name="Lilith Pokorra" userId="29887f1b-b715-413d-8f68-9084865f2962" providerId="ADAL" clId="{29D48E69-B3F7-4D80-9AFA-C93931CB47CC}" dt="2024-09-09T09:35:32.589" v="5074"/>
          <ac:spMkLst>
            <pc:docMk/>
            <pc:sldMk cId="716235221" sldId="3355"/>
            <ac:spMk id="15" creationId="{10F5DAED-69C1-89A7-610D-85CB3CBC47DA}"/>
          </ac:spMkLst>
        </pc:spChg>
        <pc:spChg chg="add del">
          <ac:chgData name="Lilith Pokorra" userId="29887f1b-b715-413d-8f68-9084865f2962" providerId="ADAL" clId="{29D48E69-B3F7-4D80-9AFA-C93931CB47CC}" dt="2024-09-09T09:38:58.206" v="5229" actId="21"/>
          <ac:spMkLst>
            <pc:docMk/>
            <pc:sldMk cId="716235221" sldId="3355"/>
            <ac:spMk id="19" creationId="{349DB5BC-D8AB-5FE3-915E-A469FA7F3FE5}"/>
          </ac:spMkLst>
        </pc:spChg>
        <pc:grpChg chg="add mod">
          <ac:chgData name="Lilith Pokorra" userId="29887f1b-b715-413d-8f68-9084865f2962" providerId="ADAL" clId="{29D48E69-B3F7-4D80-9AFA-C93931CB47CC}" dt="2024-09-09T09:35:32.589" v="5074"/>
          <ac:grpSpMkLst>
            <pc:docMk/>
            <pc:sldMk cId="716235221" sldId="3355"/>
            <ac:grpSpMk id="12" creationId="{B2F9686D-B4B2-3D33-8814-437EDDD4515B}"/>
          </ac:grpSpMkLst>
        </pc:grpChg>
        <pc:grpChg chg="del">
          <ac:chgData name="Lilith Pokorra" userId="29887f1b-b715-413d-8f68-9084865f2962" providerId="ADAL" clId="{29D48E69-B3F7-4D80-9AFA-C93931CB47CC}" dt="2024-09-09T09:35:32.335" v="5073" actId="478"/>
          <ac:grpSpMkLst>
            <pc:docMk/>
            <pc:sldMk cId="716235221" sldId="3355"/>
            <ac:grpSpMk id="16" creationId="{43F33ED2-5557-84A9-EDA3-7F8EFD77B4AD}"/>
          </ac:grpSpMkLst>
        </pc:grpChg>
        <pc:picChg chg="mod">
          <ac:chgData name="Lilith Pokorra" userId="29887f1b-b715-413d-8f68-9084865f2962" providerId="ADAL" clId="{29D48E69-B3F7-4D80-9AFA-C93931CB47CC}" dt="2024-09-09T09:32:35.817" v="4833" actId="29295"/>
          <ac:picMkLst>
            <pc:docMk/>
            <pc:sldMk cId="716235221" sldId="3355"/>
            <ac:picMk id="10" creationId="{4A4E1D88-B17B-1DE6-A511-749E54E69262}"/>
          </ac:picMkLst>
        </pc:picChg>
      </pc:sldChg>
      <pc:sldChg chg="addSp delSp modSp add mod modNotesTx">
        <pc:chgData name="Lilith Pokorra" userId="29887f1b-b715-413d-8f68-9084865f2962" providerId="ADAL" clId="{29D48E69-B3F7-4D80-9AFA-C93931CB47CC}" dt="2024-09-09T09:50:57.626" v="5604" actId="20577"/>
        <pc:sldMkLst>
          <pc:docMk/>
          <pc:sldMk cId="1584411723" sldId="3356"/>
        </pc:sldMkLst>
        <pc:spChg chg="mod">
          <ac:chgData name="Lilith Pokorra" userId="29887f1b-b715-413d-8f68-9084865f2962" providerId="ADAL" clId="{29D48E69-B3F7-4D80-9AFA-C93931CB47CC}" dt="2024-09-09T09:47:05.233" v="5278" actId="1076"/>
          <ac:spMkLst>
            <pc:docMk/>
            <pc:sldMk cId="1584411723" sldId="3356"/>
            <ac:spMk id="4" creationId="{B413813E-FFF4-B8AD-FFF2-780DEB865534}"/>
          </ac:spMkLst>
        </pc:spChg>
        <pc:spChg chg="mod">
          <ac:chgData name="Lilith Pokorra" userId="29887f1b-b715-413d-8f68-9084865f2962" providerId="ADAL" clId="{29D48E69-B3F7-4D80-9AFA-C93931CB47CC}" dt="2024-09-09T09:47:46.042" v="5294" actId="20577"/>
          <ac:spMkLst>
            <pc:docMk/>
            <pc:sldMk cId="1584411723" sldId="3356"/>
            <ac:spMk id="5" creationId="{BDADBDB9-1F0C-E7CF-038C-EBB0D1312C72}"/>
          </ac:spMkLst>
        </pc:spChg>
        <pc:spChg chg="add mod">
          <ac:chgData name="Lilith Pokorra" userId="29887f1b-b715-413d-8f68-9084865f2962" providerId="ADAL" clId="{29D48E69-B3F7-4D80-9AFA-C93931CB47CC}" dt="2024-09-09T09:30:10.973" v="4737" actId="20577"/>
          <ac:spMkLst>
            <pc:docMk/>
            <pc:sldMk cId="1584411723" sldId="3356"/>
            <ac:spMk id="7" creationId="{B49AA84D-8430-5D26-FC5B-9B688B94D7E9}"/>
          </ac:spMkLst>
        </pc:spChg>
        <pc:spChg chg="mod">
          <ac:chgData name="Lilith Pokorra" userId="29887f1b-b715-413d-8f68-9084865f2962" providerId="ADAL" clId="{29D48E69-B3F7-4D80-9AFA-C93931CB47CC}" dt="2024-09-09T09:47:05.233" v="5278" actId="1076"/>
          <ac:spMkLst>
            <pc:docMk/>
            <pc:sldMk cId="1584411723" sldId="3356"/>
            <ac:spMk id="19" creationId="{DA1E22E9-891C-AF51-EB0B-B77D8502DE2E}"/>
          </ac:spMkLst>
        </pc:spChg>
        <pc:spChg chg="add mod">
          <ac:chgData name="Lilith Pokorra" userId="29887f1b-b715-413d-8f68-9084865f2962" providerId="ADAL" clId="{29D48E69-B3F7-4D80-9AFA-C93931CB47CC}" dt="2024-09-09T09:47:11.048" v="5280" actId="164"/>
          <ac:spMkLst>
            <pc:docMk/>
            <pc:sldMk cId="1584411723" sldId="3356"/>
            <ac:spMk id="20" creationId="{557CEED5-2892-A3C5-ED9E-2783555ECAB2}"/>
          </ac:spMkLst>
        </pc:spChg>
        <pc:grpChg chg="add mod">
          <ac:chgData name="Lilith Pokorra" userId="29887f1b-b715-413d-8f68-9084865f2962" providerId="ADAL" clId="{29D48E69-B3F7-4D80-9AFA-C93931CB47CC}" dt="2024-09-09T09:47:05.233" v="5278" actId="1076"/>
          <ac:grpSpMkLst>
            <pc:docMk/>
            <pc:sldMk cId="1584411723" sldId="3356"/>
            <ac:grpSpMk id="8" creationId="{D8B8EA67-6050-77B5-BAF2-0F002873BA0B}"/>
          </ac:grpSpMkLst>
        </pc:grpChg>
        <pc:grpChg chg="add del mod">
          <ac:chgData name="Lilith Pokorra" userId="29887f1b-b715-413d-8f68-9084865f2962" providerId="ADAL" clId="{29D48E69-B3F7-4D80-9AFA-C93931CB47CC}" dt="2024-09-09T08:19:06.135" v="4667" actId="478"/>
          <ac:grpSpMkLst>
            <pc:docMk/>
            <pc:sldMk cId="1584411723" sldId="3356"/>
            <ac:grpSpMk id="17" creationId="{AA537741-BD3F-05A0-153E-175B2108B8B9}"/>
          </ac:grpSpMkLst>
        </pc:grpChg>
        <pc:grpChg chg="add mod">
          <ac:chgData name="Lilith Pokorra" userId="29887f1b-b715-413d-8f68-9084865f2962" providerId="ADAL" clId="{29D48E69-B3F7-4D80-9AFA-C93931CB47CC}" dt="2024-09-09T09:47:07.657" v="5279" actId="1076"/>
          <ac:grpSpMkLst>
            <pc:docMk/>
            <pc:sldMk cId="1584411723" sldId="3356"/>
            <ac:grpSpMk id="21" creationId="{7782FD93-A5A9-CFFE-1D5D-EA6F51471B6A}"/>
          </ac:grpSpMkLst>
        </pc:grpChg>
        <pc:grpChg chg="add mod">
          <ac:chgData name="Lilith Pokorra" userId="29887f1b-b715-413d-8f68-9084865f2962" providerId="ADAL" clId="{29D48E69-B3F7-4D80-9AFA-C93931CB47CC}" dt="2024-09-09T09:47:05.233" v="5278" actId="1076"/>
          <ac:grpSpMkLst>
            <pc:docMk/>
            <pc:sldMk cId="1584411723" sldId="3356"/>
            <ac:grpSpMk id="30" creationId="{5588581B-F8D0-1E75-468B-9BD079F96809}"/>
          </ac:grpSpMkLst>
        </pc:grpChg>
        <pc:grpChg chg="add mod">
          <ac:chgData name="Lilith Pokorra" userId="29887f1b-b715-413d-8f68-9084865f2962" providerId="ADAL" clId="{29D48E69-B3F7-4D80-9AFA-C93931CB47CC}" dt="2024-09-09T09:47:15.994" v="5282" actId="14100"/>
          <ac:grpSpMkLst>
            <pc:docMk/>
            <pc:sldMk cId="1584411723" sldId="3356"/>
            <ac:grpSpMk id="31" creationId="{C766829F-D7A2-4432-7BFE-8A537EDD6652}"/>
          </ac:grpSpMkLst>
        </pc:grpChg>
        <pc:picChg chg="mod">
          <ac:chgData name="Lilith Pokorra" userId="29887f1b-b715-413d-8f68-9084865f2962" providerId="ADAL" clId="{29D48E69-B3F7-4D80-9AFA-C93931CB47CC}" dt="2024-09-09T09:47:05.233" v="5278" actId="1076"/>
          <ac:picMkLst>
            <pc:docMk/>
            <pc:sldMk cId="1584411723" sldId="3356"/>
            <ac:picMk id="6" creationId="{AC9B4D18-85DC-C76C-BCED-8F0E4BF963AD}"/>
          </ac:picMkLst>
        </pc:picChg>
        <pc:picChg chg="mod">
          <ac:chgData name="Lilith Pokorra" userId="29887f1b-b715-413d-8f68-9084865f2962" providerId="ADAL" clId="{29D48E69-B3F7-4D80-9AFA-C93931CB47CC}" dt="2024-09-09T09:47:07.657" v="5279" actId="1076"/>
          <ac:picMkLst>
            <pc:docMk/>
            <pc:sldMk cId="1584411723" sldId="3356"/>
            <ac:picMk id="13" creationId="{00C80D69-18C4-D0DD-732E-86D95D67EF1B}"/>
          </ac:picMkLst>
        </pc:picChg>
        <pc:picChg chg="del mod">
          <ac:chgData name="Lilith Pokorra" userId="29887f1b-b715-413d-8f68-9084865f2962" providerId="ADAL" clId="{29D48E69-B3F7-4D80-9AFA-C93931CB47CC}" dt="2024-09-09T08:19:06.135" v="4667" actId="478"/>
          <ac:picMkLst>
            <pc:docMk/>
            <pc:sldMk cId="1584411723" sldId="3356"/>
            <ac:picMk id="18" creationId="{10F84AF4-8E8F-331B-BEFA-86C0F3E852AA}"/>
          </ac:picMkLst>
        </pc:picChg>
        <pc:picChg chg="add mod">
          <ac:chgData name="Lilith Pokorra" userId="29887f1b-b715-413d-8f68-9084865f2962" providerId="ADAL" clId="{29D48E69-B3F7-4D80-9AFA-C93931CB47CC}" dt="2024-09-09T09:47:11.048" v="5280" actId="164"/>
          <ac:picMkLst>
            <pc:docMk/>
            <pc:sldMk cId="1584411723" sldId="3356"/>
            <ac:picMk id="23" creationId="{8EE1BF2E-CF73-A678-0BF2-351FB78F6755}"/>
          </ac:picMkLst>
        </pc:picChg>
        <pc:picChg chg="add mod">
          <ac:chgData name="Lilith Pokorra" userId="29887f1b-b715-413d-8f68-9084865f2962" providerId="ADAL" clId="{29D48E69-B3F7-4D80-9AFA-C93931CB47CC}" dt="2024-09-09T09:46:35.015" v="5272" actId="1076"/>
          <ac:picMkLst>
            <pc:docMk/>
            <pc:sldMk cId="1584411723" sldId="3356"/>
            <ac:picMk id="25" creationId="{92480D5C-F5B9-3F01-5790-59619456257E}"/>
          </ac:picMkLst>
        </pc:picChg>
        <pc:picChg chg="add mod">
          <ac:chgData name="Lilith Pokorra" userId="29887f1b-b715-413d-8f68-9084865f2962" providerId="ADAL" clId="{29D48E69-B3F7-4D80-9AFA-C93931CB47CC}" dt="2024-09-09T09:46:35.015" v="5272" actId="1076"/>
          <ac:picMkLst>
            <pc:docMk/>
            <pc:sldMk cId="1584411723" sldId="3356"/>
            <ac:picMk id="27" creationId="{4F6A0AB4-A56D-5470-D7D1-812BE7B221DA}"/>
          </ac:picMkLst>
        </pc:picChg>
        <pc:picChg chg="add mod">
          <ac:chgData name="Lilith Pokorra" userId="29887f1b-b715-413d-8f68-9084865f2962" providerId="ADAL" clId="{29D48E69-B3F7-4D80-9AFA-C93931CB47CC}" dt="2024-09-09T09:46:35.015" v="5272" actId="1076"/>
          <ac:picMkLst>
            <pc:docMk/>
            <pc:sldMk cId="1584411723" sldId="3356"/>
            <ac:picMk id="29" creationId="{ACA7C142-3EF8-80A9-8307-8867B3CB794A}"/>
          </ac:picMkLst>
        </pc:picChg>
        <pc:picChg chg="del mod">
          <ac:chgData name="Lilith Pokorra" userId="29887f1b-b715-413d-8f68-9084865f2962" providerId="ADAL" clId="{29D48E69-B3F7-4D80-9AFA-C93931CB47CC}" dt="2024-09-09T09:41:26.353" v="5236" actId="478"/>
          <ac:picMkLst>
            <pc:docMk/>
            <pc:sldMk cId="1584411723" sldId="3356"/>
            <ac:picMk id="1028" creationId="{F3760CD5-4F83-D159-AE9D-20C518D980D7}"/>
          </ac:picMkLst>
        </pc:picChg>
        <pc:picChg chg="mod">
          <ac:chgData name="Lilith Pokorra" userId="29887f1b-b715-413d-8f68-9084865f2962" providerId="ADAL" clId="{29D48E69-B3F7-4D80-9AFA-C93931CB47CC}" dt="2024-09-09T09:47:07.657" v="5279" actId="1076"/>
          <ac:picMkLst>
            <pc:docMk/>
            <pc:sldMk cId="1584411723" sldId="3356"/>
            <ac:picMk id="1034" creationId="{49D7B271-460B-8060-BA6F-B966AE810060}"/>
          </ac:picMkLst>
        </pc:picChg>
        <pc:picChg chg="mod">
          <ac:chgData name="Lilith Pokorra" userId="29887f1b-b715-413d-8f68-9084865f2962" providerId="ADAL" clId="{29D48E69-B3F7-4D80-9AFA-C93931CB47CC}" dt="2024-09-09T09:47:07.657" v="5279" actId="1076"/>
          <ac:picMkLst>
            <pc:docMk/>
            <pc:sldMk cId="1584411723" sldId="3356"/>
            <ac:picMk id="1036" creationId="{E3E1E382-9CFF-F886-7CEF-38F25693FFA2}"/>
          </ac:picMkLst>
        </pc:picChg>
        <pc:cxnChg chg="add mod">
          <ac:chgData name="Lilith Pokorra" userId="29887f1b-b715-413d-8f68-9084865f2962" providerId="ADAL" clId="{29D48E69-B3F7-4D80-9AFA-C93931CB47CC}" dt="2024-09-09T08:19:47.840" v="4699" actId="1076"/>
          <ac:cxnSpMkLst>
            <pc:docMk/>
            <pc:sldMk cId="1584411723" sldId="3356"/>
            <ac:cxnSpMk id="11" creationId="{A3A1051C-FB9C-3BD9-0EE0-ECE98B20D692}"/>
          </ac:cxnSpMkLst>
        </pc:cxnChg>
      </pc:sldChg>
      <pc:sldChg chg="add del">
        <pc:chgData name="Lilith Pokorra" userId="29887f1b-b715-413d-8f68-9084865f2962" providerId="ADAL" clId="{29D48E69-B3F7-4D80-9AFA-C93931CB47CC}" dt="2024-09-09T07:45:26.727" v="4113" actId="47"/>
        <pc:sldMkLst>
          <pc:docMk/>
          <pc:sldMk cId="4052011364" sldId="364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17.09.24</a:t>
            </a:fld>
            <a:endParaRPr lang="de-DE">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sng"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a:p>
        </p:txBody>
      </p:sp>
    </p:spTree>
    <p:extLst>
      <p:ext uri="{BB962C8B-B14F-4D97-AF65-F5344CB8AC3E}">
        <p14:creationId xmlns:p14="http://schemas.microsoft.com/office/powerpoint/2010/main" val="1779488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2</a:t>
            </a:fld>
            <a:endParaRPr lang="de-DE"/>
          </a:p>
        </p:txBody>
      </p:sp>
    </p:spTree>
    <p:extLst>
      <p:ext uri="{BB962C8B-B14F-4D97-AF65-F5344CB8AC3E}">
        <p14:creationId xmlns:p14="http://schemas.microsoft.com/office/powerpoint/2010/main" val="296039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3</a:t>
            </a:fld>
            <a:endParaRPr lang="de-DE"/>
          </a:p>
        </p:txBody>
      </p:sp>
    </p:spTree>
    <p:extLst>
      <p:ext uri="{BB962C8B-B14F-4D97-AF65-F5344CB8AC3E}">
        <p14:creationId xmlns:p14="http://schemas.microsoft.com/office/powerpoint/2010/main" val="1234887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Neben der FÖDIMA-Kartei an sich gibt es auch Standortbestimmungen und eine App von FÖDIMA.</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Die Standortbestimmungen sind inhaltlich auf die Kartei abgestimmt, </a:t>
            </a:r>
            <a:r>
              <a:rPr lang="de-DE" b="0" i="0" dirty="0">
                <a:solidFill>
                  <a:srgbClr val="174482"/>
                </a:solidFill>
                <a:effectLst/>
                <a:latin typeface="Roboto" panose="02000000000000000000" pitchFamily="2" charset="0"/>
              </a:rPr>
              <a:t>sodass beide Materialien auch kombiniert im Unterricht eingesetzt werden können. </a:t>
            </a:r>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Die App kann alternativ oder ergänzend zur FÖDIMA-Kartei eingesetzt werden. </a:t>
            </a:r>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Sie:</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t>beinhaltet Hintergrundinformationen zu den mathematischen Inhalten, </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t>kann konkret in Diagnose- und Fördersituationen als Unterstützung (z. B. durch passende Impulse und Möglichkeiten zur Dokumentation) dienen,</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t>schlägt nach Eingabe der Diagnoseergebnisse passende Fördermaßnahmen vor</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t>und dient der übersichtlichen Dokumentation und Darstellung von Ergebnissen einzelner Kinder oder in der Klassenübersicht</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de-DE" dirty="0"/>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4</a:t>
            </a:fld>
            <a:endParaRPr lang="de-DE"/>
          </a:p>
        </p:txBody>
      </p:sp>
    </p:spTree>
    <p:extLst>
      <p:ext uri="{BB962C8B-B14F-4D97-AF65-F5344CB8AC3E}">
        <p14:creationId xmlns:p14="http://schemas.microsoft.com/office/powerpoint/2010/main" val="3864200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dirty="0"/>
              <a:t>FÖDIMA steht für „Förderorientierte Diagnostik im (inklusiven) mathematischen Anfangsunterricht“.</a:t>
            </a:r>
          </a:p>
          <a:p>
            <a:pPr marL="0" indent="0">
              <a:buFont typeface="Arial" panose="020B0604020202020204" pitchFamily="34" charset="0"/>
              <a:buNone/>
            </a:pPr>
            <a:endParaRPr lang="de-DE" dirty="0"/>
          </a:p>
          <a:p>
            <a:pPr marL="171450" lvl="0" indent="-171450">
              <a:buFont typeface="Arial" panose="020B0604020202020204" pitchFamily="34" charset="0"/>
              <a:buChar char="•"/>
            </a:pPr>
            <a:r>
              <a:rPr lang="de-DE" dirty="0"/>
              <a:t>Es handelt sich dabei eine Kartei mit Diagnose- und Förderanregungen für das 1. und 2. Schuljahr. Dazu gibt es passende Standortbestimmungen.</a:t>
            </a:r>
          </a:p>
          <a:p>
            <a:pPr marL="171450" lvl="0" indent="-171450">
              <a:buFont typeface="Arial" panose="020B0604020202020204" pitchFamily="34" charset="0"/>
              <a:buChar char="•"/>
            </a:pPr>
            <a:r>
              <a:rPr lang="de-DE" dirty="0"/>
              <a:t>Das besondere an der Kartei ist, dass </a:t>
            </a:r>
            <a:r>
              <a:rPr lang="de-DE" dirty="0">
                <a:sym typeface="Wingdings" panose="05000000000000000000" pitchFamily="2" charset="2"/>
              </a:rPr>
              <a:t>Diagnose und Förderung immer zusammen gedacht werden. Zu jeder Diagnoseaufgabe werden passende Förderaufgaben angeboten.</a:t>
            </a:r>
            <a:endParaRPr lang="de-DE" dirty="0"/>
          </a:p>
          <a:p>
            <a:pPr marL="171450" lvl="0" indent="-171450">
              <a:buFont typeface="Arial" panose="020B0604020202020204" pitchFamily="34" charset="0"/>
              <a:buChar char="•"/>
            </a:pPr>
            <a:r>
              <a:rPr lang="de-DE" dirty="0"/>
              <a:t>Die Kartei bietet:</a:t>
            </a:r>
          </a:p>
          <a:p>
            <a:pPr marL="628650" lvl="1" indent="-171450">
              <a:buFont typeface="Courier New" panose="02070309020205020404" pitchFamily="49" charset="0"/>
              <a:buChar char="o"/>
            </a:pPr>
            <a:r>
              <a:rPr lang="de-DE" dirty="0"/>
              <a:t>Möglichkeiten einer strukturierten und gezielten Diagnostik in Form von Standortbestimmungen und gezielten diagnostischen Gesprächen,</a:t>
            </a:r>
          </a:p>
          <a:p>
            <a:pPr marL="628650" lvl="1" indent="-171450">
              <a:buFont typeface="Courier New" panose="02070309020205020404" pitchFamily="49" charset="0"/>
              <a:buChar char="o"/>
            </a:pPr>
            <a:r>
              <a:rPr lang="de-DE" dirty="0"/>
              <a:t>Gelegenheit, um die wesentlichen Aspekte des arithmetischen Anfangsunterrichts fachdidaktisch aufzuarbeiten und Werkzeuge kennenzulernen, die eine gezielte Förderung aller Kinder ermöglichen,</a:t>
            </a:r>
          </a:p>
          <a:p>
            <a:pPr marL="628650" lvl="1" indent="-171450">
              <a:buFont typeface="Courier New" panose="02070309020205020404" pitchFamily="49" charset="0"/>
              <a:buChar char="o"/>
            </a:pPr>
            <a:r>
              <a:rPr lang="de-DE" dirty="0"/>
              <a:t>die Möglichkeit, die Diagnostik als wichtiges Element des Unterrichts gezielt in den Blick zu nehmen und zu planen,</a:t>
            </a:r>
          </a:p>
          <a:p>
            <a:pPr marL="628650" lvl="1" indent="-171450">
              <a:buFont typeface="Courier New" panose="02070309020205020404" pitchFamily="49" charset="0"/>
              <a:buChar char="o"/>
            </a:pPr>
            <a:r>
              <a:rPr lang="de-DE" dirty="0"/>
              <a:t>die Fokussierung auf das Ziel einer entsprechenden individuellen Förderung. Es geht nicht darum, Leistungen einzuordnen, sondern darum, allen Kindern eine sichere Grundlage für das mathematische Lernen zu ermöglichen</a:t>
            </a:r>
          </a:p>
        </p:txBody>
      </p:sp>
      <p:sp>
        <p:nvSpPr>
          <p:cNvPr id="4" name="Foliennummernplatzhalter 3"/>
          <p:cNvSpPr>
            <a:spLocks noGrp="1"/>
          </p:cNvSpPr>
          <p:nvPr>
            <p:ph type="sldNum" sz="quarter" idx="5"/>
          </p:nvPr>
        </p:nvSpPr>
        <p:spPr/>
        <p:txBody>
          <a:bodyPr/>
          <a:lstStyle/>
          <a:p>
            <a:fld id="{FAF12454-57A3-5346-8AD1-8A7E704F94A5}" type="slidenum">
              <a:rPr lang="de-DE" smtClean="0"/>
              <a:pPr/>
              <a:t>5</a:t>
            </a:fld>
            <a:endParaRPr lang="de-DE"/>
          </a:p>
        </p:txBody>
      </p:sp>
    </p:spTree>
    <p:extLst>
      <p:ext uri="{BB962C8B-B14F-4D97-AF65-F5344CB8AC3E}">
        <p14:creationId xmlns:p14="http://schemas.microsoft.com/office/powerpoint/2010/main" val="788489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s ist die Vorderseite einer solchen Karteikarte. Mithilfe der Vorderseite erfolgt die Diagnose.</a:t>
            </a:r>
          </a:p>
          <a:p>
            <a:endParaRPr lang="de-DE" dirty="0"/>
          </a:p>
          <a:p>
            <a:r>
              <a:rPr lang="de-DE" dirty="0"/>
              <a:t>Hier finden sich:</a:t>
            </a:r>
          </a:p>
          <a:p>
            <a:pPr marL="171450" indent="-171450">
              <a:buFont typeface="Arial" panose="020B0604020202020204" pitchFamily="34" charset="0"/>
              <a:buChar char="•"/>
            </a:pPr>
            <a:r>
              <a:rPr lang="de-DE" dirty="0"/>
              <a:t>Der Titel der Karteikarte</a:t>
            </a:r>
          </a:p>
          <a:p>
            <a:pPr marL="171450" indent="-171450">
              <a:buFont typeface="Arial" panose="020B0604020202020204" pitchFamily="34" charset="0"/>
              <a:buChar char="•"/>
            </a:pPr>
            <a:r>
              <a:rPr lang="de-DE" dirty="0"/>
              <a:t>Der Zahlenraum</a:t>
            </a:r>
          </a:p>
          <a:p>
            <a:pPr marL="171450" indent="-171450">
              <a:buFont typeface="Arial" panose="020B0604020202020204" pitchFamily="34" charset="0"/>
              <a:buChar char="•"/>
            </a:pPr>
            <a:r>
              <a:rPr lang="de-DE" dirty="0"/>
              <a:t>Der Inhaltsbereich im Lehrplan</a:t>
            </a:r>
          </a:p>
          <a:p>
            <a:pPr marL="171450" indent="-171450">
              <a:buFont typeface="Arial" panose="020B0604020202020204" pitchFamily="34" charset="0"/>
              <a:buChar char="•"/>
            </a:pPr>
            <a:r>
              <a:rPr lang="de-DE" dirty="0"/>
              <a:t>Die zu diagnostizierenden Kompetenzen</a:t>
            </a:r>
          </a:p>
          <a:p>
            <a:pPr marL="171450" indent="-171450">
              <a:buFont typeface="Arial" panose="020B0604020202020204" pitchFamily="34" charset="0"/>
              <a:buChar char="•"/>
            </a:pPr>
            <a:r>
              <a:rPr lang="de-DE" dirty="0"/>
              <a:t>Die diagnostische Basisaufgabe </a:t>
            </a:r>
          </a:p>
          <a:p>
            <a:pPr marL="171450" indent="-171450">
              <a:buFont typeface="Arial" panose="020B0604020202020204" pitchFamily="34" charset="0"/>
              <a:buChar char="•"/>
            </a:pPr>
            <a:r>
              <a:rPr lang="de-DE" dirty="0"/>
              <a:t>Passende Beobachtungshinweise </a:t>
            </a:r>
          </a:p>
          <a:p>
            <a:pPr marL="171450" indent="-171450">
              <a:buFont typeface="Arial" panose="020B0604020202020204" pitchFamily="34" charset="0"/>
              <a:buChar char="•"/>
            </a:pPr>
            <a:r>
              <a:rPr lang="de-DE" dirty="0"/>
              <a:t>Und gezielte Impulse zur tieferen Diagnose</a:t>
            </a:r>
          </a:p>
          <a:p>
            <a:endParaRPr lang="de-DE" dirty="0"/>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6</a:t>
            </a:fld>
            <a:endParaRPr lang="de-DE"/>
          </a:p>
        </p:txBody>
      </p:sp>
    </p:spTree>
    <p:extLst>
      <p:ext uri="{BB962C8B-B14F-4D97-AF65-F5344CB8AC3E}">
        <p14:creationId xmlns:p14="http://schemas.microsoft.com/office/powerpoint/2010/main" val="2007305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uf der Rückseite werden passende Förderaktivitäten angeboten. So kann im Anschluss an die Diagnose direkt zielgerichtet gefördert werden. </a:t>
            </a:r>
          </a:p>
          <a:p>
            <a:endParaRPr lang="de-DE" dirty="0"/>
          </a:p>
          <a:p>
            <a:r>
              <a:rPr lang="de-DE" dirty="0"/>
              <a:t>Hier finden sich:</a:t>
            </a:r>
          </a:p>
          <a:p>
            <a:pPr marL="171450" indent="-171450" algn="l">
              <a:buFont typeface="Arial" panose="020B0604020202020204" pitchFamily="34" charset="0"/>
              <a:buChar char="•"/>
            </a:pPr>
            <a:r>
              <a:rPr lang="de-DE" dirty="0"/>
              <a:t>Verschiedene Förderanregungen zur Durchführung in verschiedenen Unterrichtssettings</a:t>
            </a:r>
          </a:p>
          <a:p>
            <a:pPr marL="171450" indent="-171450" algn="l">
              <a:buFont typeface="Arial" panose="020B0604020202020204" pitchFamily="34" charset="0"/>
              <a:buChar char="•"/>
            </a:pPr>
            <a:r>
              <a:rPr lang="de-DE" dirty="0"/>
              <a:t>Hinweise und Links zu weiterem Material</a:t>
            </a:r>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7</a:t>
            </a:fld>
            <a:endParaRPr lang="de-DE"/>
          </a:p>
        </p:txBody>
      </p:sp>
    </p:spTree>
    <p:extLst>
      <p:ext uri="{BB962C8B-B14F-4D97-AF65-F5344CB8AC3E}">
        <p14:creationId xmlns:p14="http://schemas.microsoft.com/office/powerpoint/2010/main" val="2031304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Kartei eignet sich besonders für die Durchführung mathematische Gespräche. Diese dienen hauptsächlich dem Erheben von Lernständen der Kinder, können aber auch direkt mit Impulsen zur Förderung verknüpft werden. </a:t>
            </a:r>
          </a:p>
          <a:p>
            <a:r>
              <a:rPr lang="de-DE" dirty="0"/>
              <a:t>Wichtig ist dabei:</a:t>
            </a:r>
          </a:p>
          <a:p>
            <a:pPr marL="171450" indent="-171450">
              <a:buFont typeface="Arial" panose="020B0604020202020204" pitchFamily="34" charset="0"/>
              <a:buChar char="•"/>
            </a:pPr>
            <a:r>
              <a:rPr lang="de-DE" b="1" dirty="0"/>
              <a:t>Bewusste Zurückhaltung</a:t>
            </a:r>
            <a:r>
              <a:rPr lang="de-DE" dirty="0"/>
              <a:t>: Rückmeldungen minimieren, Kinder selbst überlegen und erklären lassen</a:t>
            </a:r>
          </a:p>
          <a:p>
            <a:pPr marL="171450" indent="-171450">
              <a:buFont typeface="Arial" panose="020B0604020202020204" pitchFamily="34" charset="0"/>
              <a:buChar char="•"/>
            </a:pPr>
            <a:r>
              <a:rPr lang="de-DE" b="1" dirty="0"/>
              <a:t>Zeit zum Denken</a:t>
            </a:r>
            <a:r>
              <a:rPr lang="de-DE" dirty="0"/>
              <a:t>: Schweigen aushalten, Kinder manchmal brauchen einige Minuten, um sich mit der Aufgabe vertraut zu machen</a:t>
            </a:r>
          </a:p>
          <a:p>
            <a:pPr marL="171450" indent="-171450">
              <a:buFont typeface="Arial" panose="020B0604020202020204" pitchFamily="34" charset="0"/>
              <a:buChar char="•"/>
            </a:pPr>
            <a:r>
              <a:rPr lang="de-DE" b="1" dirty="0"/>
              <a:t>keine Suggestivfragen</a:t>
            </a:r>
            <a:r>
              <a:rPr lang="de-DE" dirty="0"/>
              <a:t>: diese verwirren Kinder häufig und legen ihnen Antworten in den Mund</a:t>
            </a:r>
          </a:p>
          <a:p>
            <a:pPr marL="171450" indent="-171450">
              <a:buFont typeface="Arial" panose="020B0604020202020204" pitchFamily="34" charset="0"/>
              <a:buChar char="•"/>
            </a:pPr>
            <a:r>
              <a:rPr lang="de-DE" b="1" dirty="0"/>
              <a:t>kein penetratives Nachfragen</a:t>
            </a:r>
            <a:r>
              <a:rPr lang="de-DE" dirty="0"/>
              <a:t>: das Hinterfragen jeder Äußerung stiftet Unsicherheit</a:t>
            </a:r>
          </a:p>
          <a:p>
            <a:pPr marL="171450" indent="-171450">
              <a:buFont typeface="Arial" panose="020B0604020202020204" pitchFamily="34" charset="0"/>
              <a:buChar char="•"/>
            </a:pPr>
            <a:r>
              <a:rPr lang="de-DE" b="1" dirty="0"/>
              <a:t>Unbewusstes bewusst machen</a:t>
            </a:r>
            <a:r>
              <a:rPr lang="de-DE" dirty="0"/>
              <a:t>: zum Beschreiben und Begründen der Lösungswege auffordern</a:t>
            </a:r>
          </a:p>
          <a:p>
            <a:pPr marL="171450" indent="-171450">
              <a:buFont typeface="Arial" panose="020B0604020202020204" pitchFamily="34" charset="0"/>
              <a:buChar char="•"/>
            </a:pPr>
            <a:endParaRPr lang="de-DE" dirty="0"/>
          </a:p>
          <a:p>
            <a:r>
              <a:rPr lang="de-DE" dirty="0"/>
              <a:t>Das Video zeigt, wie die Aktivität „Zahlen schnell sehen im 20er-Feld“ in der konkreten Diagnose- und Fördersituation aussehen kann. </a:t>
            </a:r>
          </a:p>
          <a:p>
            <a:endParaRPr lang="de-DE" dirty="0"/>
          </a:p>
          <a:p>
            <a:r>
              <a:rPr lang="de-DE" dirty="0"/>
              <a:t>Beobachtungsaufträge:</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sz="1200" dirty="0">
                <a:latin typeface="Calibri" panose="020F0502020204030204" pitchFamily="34" charset="0"/>
              </a:rPr>
              <a:t>Welche Impulse setzt die Lehrkraft?</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sz="1200" dirty="0">
                <a:latin typeface="Calibri" panose="020F0502020204030204" pitchFamily="34" charset="0"/>
              </a:rPr>
              <a:t>Welche Beobachtungen können dadurch gemacht werden?</a:t>
            </a:r>
            <a:endParaRPr kumimoji="0" lang="de-DE" sz="1200" b="0" i="0" u="none" strike="noStrike" cap="none" normalizeH="0" baseline="0" dirty="0">
              <a:ln>
                <a:noFill/>
              </a:ln>
              <a:solidFill>
                <a:schemeClr val="tx1"/>
              </a:solidFill>
              <a:effectLst/>
              <a:latin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endParaRPr kumimoji="0" lang="de-DE" sz="1200" b="0" i="0" u="none" strike="noStrike" cap="none" normalizeH="0" baseline="0" dirty="0">
              <a:ln>
                <a:noFill/>
              </a:ln>
              <a:solidFill>
                <a:schemeClr val="tx1"/>
              </a:solidFill>
              <a:effectLst/>
              <a:latin typeface="Calibri" panose="020F0502020204030204" pitchFamily="34" charset="0"/>
            </a:endParaRPr>
          </a:p>
          <a:p>
            <a:endParaRPr lang="de-DE" dirty="0"/>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8</a:t>
            </a:fld>
            <a:endParaRPr lang="de-DE"/>
          </a:p>
        </p:txBody>
      </p:sp>
    </p:spTree>
    <p:extLst>
      <p:ext uri="{BB962C8B-B14F-4D97-AF65-F5344CB8AC3E}">
        <p14:creationId xmlns:p14="http://schemas.microsoft.com/office/powerpoint/2010/main" val="2307121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9</a:t>
            </a:fld>
            <a:endParaRPr lang="de-DE"/>
          </a:p>
        </p:txBody>
      </p:sp>
    </p:spTree>
    <p:extLst>
      <p:ext uri="{BB962C8B-B14F-4D97-AF65-F5344CB8AC3E}">
        <p14:creationId xmlns:p14="http://schemas.microsoft.com/office/powerpoint/2010/main" val="666151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base" latinLnBrk="0" hangingPunct="1">
              <a:lnSpc>
                <a:spcPct val="115000"/>
              </a:lnSpc>
              <a:spcBef>
                <a:spcPct val="30000"/>
              </a:spcBef>
              <a:spcAft>
                <a:spcPct val="0"/>
              </a:spcAft>
              <a:buClrTx/>
              <a:buSzTx/>
              <a:buFontTx/>
              <a:buNone/>
              <a:tabLst/>
              <a:defRPr/>
            </a:pPr>
            <a:endParaRPr lang="de-DE" sz="1200" dirty="0">
              <a:solidFill>
                <a:srgbClr val="000000"/>
              </a:solidFill>
              <a:effectLst/>
              <a:latin typeface="Calibri" panose="020F0502020204030204" pitchFamily="34" charset="0"/>
              <a:ea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FAF12454-57A3-5346-8AD1-8A7E704F94A5}" type="slidenum">
              <a:rPr lang="de-DE" smtClean="0"/>
              <a:pPr/>
              <a:t>10</a:t>
            </a:fld>
            <a:endParaRPr lang="de-DE"/>
          </a:p>
        </p:txBody>
      </p:sp>
    </p:spTree>
    <p:extLst>
      <p:ext uri="{BB962C8B-B14F-4D97-AF65-F5344CB8AC3E}">
        <p14:creationId xmlns:p14="http://schemas.microsoft.com/office/powerpoint/2010/main" val="861666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1</a:t>
            </a:fld>
            <a:endParaRPr lang="de-DE"/>
          </a:p>
        </p:txBody>
      </p:sp>
    </p:spTree>
    <p:extLst>
      <p:ext uri="{BB962C8B-B14F-4D97-AF65-F5344CB8AC3E}">
        <p14:creationId xmlns:p14="http://schemas.microsoft.com/office/powerpoint/2010/main" val="15528507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543865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6.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9.xml"/><Relationship Id="rId7" Type="http://schemas.openxmlformats.org/officeDocument/2006/relationships/image" Target="../media/image8.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22.xml"/><Relationship Id="rId7" Type="http://schemas.openxmlformats.org/officeDocument/2006/relationships/image" Target="../media/image8.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 id="2147483777" r:id="rId8"/>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10"/>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1"/>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1"/>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1"/>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png"/><Relationship Id="rId10" Type="http://schemas.openxmlformats.org/officeDocument/2006/relationships/image" Target="../media/image15.jpeg"/><Relationship Id="rId4" Type="http://schemas.openxmlformats.org/officeDocument/2006/relationships/image" Target="../media/image12.jpe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2.jpe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6.jpeg"/></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6.jpe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6.jpe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0.png"/><Relationship Id="rId5" Type="http://schemas.openxmlformats.org/officeDocument/2006/relationships/image" Target="../media/image16.jpe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err="1">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00" y="5763934"/>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dirty="0">
                <a:latin typeface="Calibri"/>
                <a:cs typeface="Calibri"/>
              </a:rPr>
              <a:t>Mathematik am Schulanfang</a:t>
            </a:r>
          </a:p>
          <a:p>
            <a:pPr marL="342900" indent="-342900" algn="ctr">
              <a:spcBef>
                <a:spcPts val="400"/>
              </a:spcBef>
            </a:pPr>
            <a:r>
              <a:rPr lang="de-DE" b="1" dirty="0">
                <a:latin typeface="Calibri"/>
                <a:cs typeface="Calibri"/>
              </a:rPr>
              <a:t>Fachnetzwerktreffen 3</a:t>
            </a:r>
          </a:p>
          <a:p>
            <a:pPr marL="342900" indent="-342900" algn="ctr">
              <a:spcBef>
                <a:spcPts val="400"/>
              </a:spcBef>
            </a:pPr>
            <a:r>
              <a:rPr lang="de-DE" sz="2400" b="1" dirty="0">
                <a:latin typeface="Calibri" panose="020F0502020204030204" pitchFamily="34" charset="0"/>
                <a:cs typeface="Calibri" panose="020F0502020204030204" pitchFamily="34" charset="0"/>
              </a:rPr>
              <a:t>Diagnose- und Fördermomente im Unterricht</a:t>
            </a:r>
            <a:endParaRPr lang="de-DE" b="1" dirty="0">
              <a:latin typeface="Calibri"/>
              <a:cs typeface="Calibri"/>
            </a:endParaRPr>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none" rtlCol="0">
            <a:spAutoFit/>
          </a:bodyPr>
          <a:lstStyle/>
          <a:p>
            <a:pPr marL="342900" indent="-342900">
              <a:spcBef>
                <a:spcPts val="400"/>
              </a:spcBef>
            </a:pPr>
            <a:r>
              <a:rPr lang="de-DE" sz="1800" err="1">
                <a:latin typeface="Calibri"/>
                <a:cs typeface="Calibri"/>
              </a:rPr>
              <a:t>SchuMaS</a:t>
            </a:r>
            <a:r>
              <a:rPr lang="de-DE" sz="180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dirty="0">
                <a:solidFill>
                  <a:schemeClr val="bg1">
                    <a:lumMod val="50000"/>
                  </a:schemeClr>
                </a:solidFill>
                <a:latin typeface="Calibri" panose="020F0502020204030204" pitchFamily="34" charset="0"/>
                <a:cs typeface="Calibri" panose="020F0502020204030204" pitchFamily="34" charset="0"/>
              </a:rPr>
              <a:t>(Bildquelle: Charlotte M. </a:t>
            </a:r>
            <a:r>
              <a:rPr lang="de-DE" sz="1000" dirty="0" err="1">
                <a:solidFill>
                  <a:schemeClr val="bg1">
                    <a:lumMod val="50000"/>
                  </a:schemeClr>
                </a:solidFill>
                <a:latin typeface="Calibri" panose="020F0502020204030204" pitchFamily="34" charset="0"/>
                <a:cs typeface="Calibri" panose="020F0502020204030204" pitchFamily="34" charset="0"/>
              </a:rPr>
              <a:t>Diderich</a:t>
            </a:r>
            <a:r>
              <a:rPr lang="de-DE" sz="1000" dirty="0">
                <a:solidFill>
                  <a:schemeClr val="bg1">
                    <a:lumMod val="50000"/>
                  </a:schemeClr>
                </a:solidFill>
                <a:latin typeface="Calibri" panose="020F0502020204030204" pitchFamily="34" charset="0"/>
                <a:cs typeface="Calibri" panose="020F0502020204030204" pitchFamily="34" charset="0"/>
              </a:rPr>
              <a:t>, Hilfskraft im </a:t>
            </a:r>
            <a:r>
              <a:rPr lang="de-DE" sz="1000" dirty="0" err="1">
                <a:solidFill>
                  <a:schemeClr val="bg1">
                    <a:lumMod val="50000"/>
                  </a:schemeClr>
                </a:solidFill>
                <a:latin typeface="Calibri" panose="020F0502020204030204" pitchFamily="34" charset="0"/>
                <a:cs typeface="Calibri" panose="020F0502020204030204" pitchFamily="34" charset="0"/>
              </a:rPr>
              <a:t>SchuMaS</a:t>
            </a:r>
            <a:r>
              <a:rPr lang="de-DE" sz="1000" dirty="0">
                <a:solidFill>
                  <a:schemeClr val="bg1">
                    <a:lumMod val="50000"/>
                  </a:schemeClr>
                </a:solidFill>
                <a:latin typeface="Calibri" panose="020F0502020204030204" pitchFamily="34" charset="0"/>
                <a:cs typeface="Calibri" panose="020F0502020204030204" pitchFamily="34" charset="0"/>
              </a:rPr>
              <a:t>-Projekt)</a:t>
            </a:r>
          </a:p>
        </p:txBody>
      </p:sp>
      <p:grpSp>
        <p:nvGrpSpPr>
          <p:cNvPr id="18" name="Gruppieren 17">
            <a:extLst>
              <a:ext uri="{FF2B5EF4-FFF2-40B4-BE49-F238E27FC236}">
                <a16:creationId xmlns:a16="http://schemas.microsoft.com/office/drawing/2014/main" id="{5C4C800F-9D8A-A350-808F-BEE95AB8D086}"/>
              </a:ext>
            </a:extLst>
          </p:cNvPr>
          <p:cNvGrpSpPr/>
          <p:nvPr/>
        </p:nvGrpSpPr>
        <p:grpSpPr>
          <a:xfrm>
            <a:off x="1966780" y="1577293"/>
            <a:ext cx="5210440" cy="2232708"/>
            <a:chOff x="2087869" y="1577293"/>
            <a:chExt cx="5210440" cy="2232708"/>
          </a:xfrm>
        </p:grpSpPr>
        <p:pic>
          <p:nvPicPr>
            <p:cNvPr id="16" name="Grafik 15">
              <a:extLst>
                <a:ext uri="{FF2B5EF4-FFF2-40B4-BE49-F238E27FC236}">
                  <a16:creationId xmlns:a16="http://schemas.microsoft.com/office/drawing/2014/main" id="{6015D04F-FEEA-81DA-75ED-22B9DC9C677F}"/>
                </a:ext>
              </a:extLst>
            </p:cNvPr>
            <p:cNvPicPr>
              <a:picLocks noChangeAspect="1"/>
            </p:cNvPicPr>
            <p:nvPr/>
          </p:nvPicPr>
          <p:blipFill>
            <a:blip r:embed="rId9"/>
            <a:stretch>
              <a:fillRect/>
            </a:stretch>
          </p:blipFill>
          <p:spPr>
            <a:xfrm>
              <a:off x="2087869" y="1577293"/>
              <a:ext cx="2754040" cy="2232707"/>
            </a:xfrm>
            <a:prstGeom prst="rect">
              <a:avLst/>
            </a:prstGeom>
          </p:spPr>
        </p:pic>
        <p:pic>
          <p:nvPicPr>
            <p:cNvPr id="17" name="Grafik 16">
              <a:extLst>
                <a:ext uri="{FF2B5EF4-FFF2-40B4-BE49-F238E27FC236}">
                  <a16:creationId xmlns:a16="http://schemas.microsoft.com/office/drawing/2014/main" id="{8DF00CF7-9F5E-91BE-1F4E-6FE165C246E0}"/>
                </a:ext>
              </a:extLst>
            </p:cNvPr>
            <p:cNvPicPr>
              <a:picLocks noChangeAspect="1"/>
            </p:cNvPicPr>
            <p:nvPr/>
          </p:nvPicPr>
          <p:blipFill>
            <a:blip r:embed="rId10"/>
            <a:stretch>
              <a:fillRect/>
            </a:stretch>
          </p:blipFill>
          <p:spPr>
            <a:xfrm>
              <a:off x="5032888" y="1588793"/>
              <a:ext cx="2265421" cy="2221208"/>
            </a:xfrm>
            <a:prstGeom prst="rect">
              <a:avLst/>
            </a:prstGeom>
          </p:spPr>
        </p:pic>
      </p:grpSp>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5FE2C29D-2288-1D47-5B7D-732D705D3888}"/>
              </a:ext>
            </a:extLst>
          </p:cNvPr>
          <p:cNvGrpSpPr/>
          <p:nvPr/>
        </p:nvGrpSpPr>
        <p:grpSpPr>
          <a:xfrm>
            <a:off x="107788" y="274288"/>
            <a:ext cx="8928424" cy="927211"/>
            <a:chOff x="0" y="0"/>
            <a:chExt cx="5818764" cy="733300"/>
          </a:xfrm>
        </p:grpSpPr>
        <p:sp>
          <p:nvSpPr>
            <p:cNvPr id="8" name="Gefaltete Ecke 8">
              <a:extLst>
                <a:ext uri="{FF2B5EF4-FFF2-40B4-BE49-F238E27FC236}">
                  <a16:creationId xmlns:a16="http://schemas.microsoft.com/office/drawing/2014/main" id="{AE211297-EB31-9693-199A-BD485BE9C3D5}"/>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9" name="Textfeld 1">
              <a:extLst>
                <a:ext uri="{FF2B5EF4-FFF2-40B4-BE49-F238E27FC236}">
                  <a16:creationId xmlns:a16="http://schemas.microsoft.com/office/drawing/2014/main" id="{88C7AB41-4438-45DC-04CC-1BE6B90C69DD}"/>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0" name="Picture 3">
            <a:extLst>
              <a:ext uri="{FF2B5EF4-FFF2-40B4-BE49-F238E27FC236}">
                <a16:creationId xmlns:a16="http://schemas.microsoft.com/office/drawing/2014/main" id="{14274EB6-5AA3-EC7C-80AF-A3952A653B3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pic>
        <p:nvPicPr>
          <p:cNvPr id="11" name="Grafik 10">
            <a:extLst>
              <a:ext uri="{FF2B5EF4-FFF2-40B4-BE49-F238E27FC236}">
                <a16:creationId xmlns:a16="http://schemas.microsoft.com/office/drawing/2014/main" id="{75BFFC4E-1AA3-DA65-196E-5FC4BB3553B3}"/>
              </a:ext>
            </a:extLst>
          </p:cNvPr>
          <p:cNvPicPr>
            <a:picLocks noChangeAspect="1"/>
          </p:cNvPicPr>
          <p:nvPr/>
        </p:nvPicPr>
        <p:blipFill>
          <a:blip r:embed="rId4"/>
          <a:srcRect/>
          <a:stretch/>
        </p:blipFill>
        <p:spPr>
          <a:xfrm>
            <a:off x="583343" y="2259919"/>
            <a:ext cx="5493749" cy="3876542"/>
          </a:xfrm>
          <a:prstGeom prst="rect">
            <a:avLst/>
          </a:prstGeom>
          <a:ln>
            <a:solidFill>
              <a:schemeClr val="tx1"/>
            </a:solidFill>
          </a:ln>
        </p:spPr>
      </p:pic>
      <p:pic>
        <p:nvPicPr>
          <p:cNvPr id="5" name="Grafik 4">
            <a:extLst>
              <a:ext uri="{FF2B5EF4-FFF2-40B4-BE49-F238E27FC236}">
                <a16:creationId xmlns:a16="http://schemas.microsoft.com/office/drawing/2014/main" id="{8AACCBD6-6F16-7B12-346B-FC088E04CD09}"/>
              </a:ext>
            </a:extLst>
          </p:cNvPr>
          <p:cNvPicPr>
            <a:picLocks noChangeAspect="1"/>
          </p:cNvPicPr>
          <p:nvPr/>
        </p:nvPicPr>
        <p:blipFill>
          <a:blip r:embed="rId5"/>
          <a:srcRect/>
          <a:stretch/>
        </p:blipFill>
        <p:spPr>
          <a:xfrm>
            <a:off x="5737104" y="1448414"/>
            <a:ext cx="3132442" cy="2215912"/>
          </a:xfrm>
          <a:prstGeom prst="rect">
            <a:avLst/>
          </a:prstGeom>
        </p:spPr>
      </p:pic>
      <p:sp>
        <p:nvSpPr>
          <p:cNvPr id="12" name="Rechteck 11">
            <a:extLst>
              <a:ext uri="{FF2B5EF4-FFF2-40B4-BE49-F238E27FC236}">
                <a16:creationId xmlns:a16="http://schemas.microsoft.com/office/drawing/2014/main" id="{B641BED5-B268-AA35-8B88-B1F7A405089F}"/>
              </a:ext>
            </a:extLst>
          </p:cNvPr>
          <p:cNvSpPr/>
          <p:nvPr/>
        </p:nvSpPr>
        <p:spPr bwMode="auto">
          <a:xfrm>
            <a:off x="0" y="6503940"/>
            <a:ext cx="206733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
        <p:nvSpPr>
          <p:cNvPr id="13" name="Textplatzhalter 5">
            <a:extLst>
              <a:ext uri="{FF2B5EF4-FFF2-40B4-BE49-F238E27FC236}">
                <a16:creationId xmlns:a16="http://schemas.microsoft.com/office/drawing/2014/main" id="{57BC5648-9C29-0164-1326-740183B2B222}"/>
              </a:ext>
            </a:extLst>
          </p:cNvPr>
          <p:cNvSpPr>
            <a:spLocks noGrp="1"/>
          </p:cNvSpPr>
          <p:nvPr>
            <p:ph type="body" sz="quarter" idx="10"/>
          </p:nvPr>
        </p:nvSpPr>
        <p:spPr>
          <a:xfrm>
            <a:off x="108000" y="6642000"/>
            <a:ext cx="8928000" cy="216000"/>
          </a:xfrm>
        </p:spPr>
        <p:txBody>
          <a:bodyPr/>
          <a:lstStyle/>
          <a:p>
            <a:r>
              <a:rPr lang="de-DE" dirty="0">
                <a:latin typeface="Calibri" panose="020F0502020204030204" pitchFamily="34" charset="0"/>
                <a:cs typeface="Calibri" panose="020F0502020204030204" pitchFamily="34" charset="0"/>
              </a:rPr>
              <a:t>(Bildquelle: </a:t>
            </a:r>
            <a:r>
              <a:rPr lang="de-DE" b="0" i="0" strike="noStrike" dirty="0">
                <a:effectLst/>
                <a:latin typeface="Calibri" panose="020F0502020204030204" pitchFamily="34" charset="0"/>
                <a:cs typeface="Calibri" panose="020F0502020204030204" pitchFamily="34" charset="0"/>
              </a:rPr>
              <a:t>https://pikas.dzlm.de/node/2558</a:t>
            </a:r>
            <a:r>
              <a:rPr lang="de-DE" b="0" i="0" u="none" strike="noStrike" dirty="0">
                <a:effectLst/>
                <a:latin typeface="Calibri" panose="020F0502020204030204" pitchFamily="34" charset="0"/>
                <a:cs typeface="Calibri" panose="020F0502020204030204" pitchFamily="34" charset="0"/>
              </a:rPr>
              <a:t>)</a:t>
            </a:r>
            <a:endParaRPr lang="de-DE" dirty="0">
              <a:latin typeface="Calibri" panose="020F0502020204030204" pitchFamily="34" charset="0"/>
              <a:cs typeface="Calibri" panose="020F0502020204030204" pitchFamily="34" charset="0"/>
            </a:endParaRPr>
          </a:p>
          <a:p>
            <a:endParaRPr lang="de-DE" dirty="0"/>
          </a:p>
        </p:txBody>
      </p:sp>
    </p:spTree>
    <p:extLst>
      <p:ext uri="{BB962C8B-B14F-4D97-AF65-F5344CB8AC3E}">
        <p14:creationId xmlns:p14="http://schemas.microsoft.com/office/powerpoint/2010/main" val="3949599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171807023"/>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kern="1200" dirty="0">
                          <a:solidFill>
                            <a:schemeClr val="accent1"/>
                          </a:solidFill>
                          <a:latin typeface="+mn-lt"/>
                          <a:ea typeface="+mn-ea"/>
                          <a:cs typeface="+mn-cs"/>
                        </a:rPr>
                        <a:t>Reflexion über die der Nutzung von Impulsen für mathematische Gespräche und Räume zur Einbindung in den eigenen Unterricht</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3 Folien</a:t>
                      </a:r>
                    </a:p>
                    <a:p>
                      <a:r>
                        <a:rPr lang="de-DE" sz="1100" dirty="0">
                          <a:solidFill>
                            <a:schemeClr val="accent1"/>
                          </a:solidFill>
                        </a:rPr>
                        <a:t>FÖDIMA-Kartei</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916017"/>
            <a:ext cx="8640000" cy="4368436"/>
          </a:xfrm>
        </p:spPr>
        <p:txBody>
          <a:bodyPr/>
          <a:lstStyle/>
          <a:p>
            <a:r>
              <a:rPr lang="de-DE" dirty="0"/>
              <a:t>Die nächsten Folien dienen dazu:</a:t>
            </a:r>
          </a:p>
          <a:p>
            <a:pPr lvl="2">
              <a:buClr>
                <a:srgbClr val="737373"/>
              </a:buClr>
              <a:defRPr/>
            </a:pPr>
            <a:r>
              <a:rPr lang="de-DE" dirty="0">
                <a:solidFill>
                  <a:srgbClr val="737373"/>
                </a:solidFill>
              </a:rPr>
              <a:t>zu betrachten, wie mathematische Gespräche mithilfe der FÖDIMA-Kartei durch gezielte Impulse ergiebig gestaltet und dokumentiert werden können,</a:t>
            </a:r>
          </a:p>
          <a:p>
            <a:pPr lvl="2">
              <a:buClr>
                <a:srgbClr val="737373"/>
              </a:buClr>
              <a:defRPr/>
            </a:pPr>
            <a:r>
              <a:rPr lang="de-DE" dirty="0">
                <a:solidFill>
                  <a:srgbClr val="737373"/>
                </a:solidFill>
              </a:rPr>
              <a:t>Möglichkeiten zur Einbindung der FÖDIMA-Kartei in den eigenen Unterricht zu finden,</a:t>
            </a:r>
          </a:p>
          <a:p>
            <a:pPr lvl="2">
              <a:buClr>
                <a:srgbClr val="737373"/>
              </a:buClr>
              <a:defRPr/>
            </a:pPr>
            <a:r>
              <a:rPr lang="de-DE" dirty="0">
                <a:solidFill>
                  <a:srgbClr val="737373"/>
                </a:solidFill>
              </a:rPr>
              <a:t>die ergänzenden Standortbestimmungen und die FÖDIMA-App vorzustellen</a:t>
            </a:r>
            <a:r>
              <a:rPr kumimoji="0" lang="de-DE" sz="1600" b="0" i="0" u="none" strike="noStrike" kern="0" cap="none" spc="0" normalizeH="0" baseline="0" noProof="0" dirty="0">
                <a:ln>
                  <a:noFill/>
                </a:ln>
                <a:solidFill>
                  <a:srgbClr val="737373"/>
                </a:solidFill>
                <a:effectLst/>
                <a:uLnTx/>
                <a:uFillTx/>
                <a:latin typeface="Calibri"/>
                <a:ea typeface="+mn-ea"/>
                <a:cs typeface="Calibri"/>
              </a:rPr>
              <a:t>.</a:t>
            </a:r>
          </a:p>
          <a:p>
            <a:pPr>
              <a:spcAft>
                <a:spcPts val="0"/>
              </a:spcAft>
            </a:pPr>
            <a:r>
              <a:rPr lang="de-DE" dirty="0"/>
              <a:t>Didaktische Umsetzung:</a:t>
            </a:r>
            <a:br>
              <a:rPr lang="de-DE" dirty="0"/>
            </a:br>
            <a:r>
              <a:rPr lang="de-DE" dirty="0"/>
              <a:t>Diskutieren Sie mit Ihrem Kollegium die folgenden Reflexionsfragen:</a:t>
            </a:r>
          </a:p>
          <a:p>
            <a:pPr lvl="2">
              <a:buClr>
                <a:srgbClr val="737373"/>
              </a:buClr>
              <a:defRPr/>
            </a:pPr>
            <a:r>
              <a:rPr lang="de-DE" i="1" dirty="0">
                <a:solidFill>
                  <a:srgbClr val="737373"/>
                </a:solidFill>
              </a:rPr>
              <a:t>Inwiefern eignet sich die FÖDIMA-Kartei, um (in Arbeitsphasen) mathematische Gespräche mit einzelnen Kindern ergiebig zu gestalten (und zu dokumentieren)?</a:t>
            </a:r>
          </a:p>
          <a:p>
            <a:pPr lvl="2">
              <a:buClr>
                <a:srgbClr val="737373"/>
              </a:buClr>
              <a:defRPr/>
            </a:pPr>
            <a:r>
              <a:rPr lang="de-DE" i="1" dirty="0">
                <a:solidFill>
                  <a:srgbClr val="737373"/>
                </a:solidFill>
              </a:rPr>
              <a:t>Welche Räume sehen Sie in Ihrem eigenen Unterricht zum Ein-satz der FÖDIMA-Kartei?</a:t>
            </a:r>
          </a:p>
          <a:p>
            <a:pPr lvl="2"/>
            <a:r>
              <a:rPr lang="de-DE" dirty="0"/>
              <a:t>Die folgenden Folien können optional zu Veranschaulichung verwendet werden. </a:t>
            </a:r>
          </a:p>
          <a:p>
            <a:pPr lvl="2"/>
            <a:r>
              <a:rPr lang="de-DE" dirty="0"/>
              <a:t>Weisen Sie das Kollegium darauf hin, dass Standortbestimmungen zum Einsatz in Kombination mit der Kartei zur Verfügung stehen und die FÖDIMA-App alternativ oder ergänzend zur Kartei eingesetzt werden kann. </a:t>
            </a:r>
          </a:p>
          <a:p>
            <a:pPr marL="216000" lvl="1" indent="0">
              <a:buNone/>
            </a:pPr>
            <a:endParaRPr lang="de-DE" dirty="0"/>
          </a:p>
          <a:p>
            <a:pPr lvl="1"/>
            <a:endParaRPr lang="de-DE" dirty="0"/>
          </a:p>
          <a:p>
            <a:pPr lvl="1"/>
            <a:endParaRPr lang="de-DE" dirty="0"/>
          </a:p>
        </p:txBody>
      </p:sp>
      <p:sp>
        <p:nvSpPr>
          <p:cNvPr id="2" name="Rechteck 1">
            <a:extLst>
              <a:ext uri="{FF2B5EF4-FFF2-40B4-BE49-F238E27FC236}">
                <a16:creationId xmlns:a16="http://schemas.microsoft.com/office/drawing/2014/main" id="{07E22DAD-50C2-00EB-AC78-3797DF14050A}"/>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a:t>
            </a:r>
            <a:r>
              <a:rPr lang="de-DE" sz="180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Reflexion</a:t>
            </a:r>
          </a:p>
        </p:txBody>
      </p:sp>
    </p:spTree>
    <p:extLst>
      <p:ext uri="{BB962C8B-B14F-4D97-AF65-F5344CB8AC3E}">
        <p14:creationId xmlns:p14="http://schemas.microsoft.com/office/powerpoint/2010/main" val="35405608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4A4E1D88-B17B-1DE6-A511-749E54E69262}"/>
              </a:ext>
            </a:extLst>
          </p:cNvPr>
          <p:cNvPicPr>
            <a:picLocks noChangeAspect="1"/>
          </p:cNvPicPr>
          <p:nvPr/>
        </p:nvPicPr>
        <p:blipFill>
          <a:blip r:embed="rId3"/>
          <a:stretch>
            <a:fillRect/>
          </a:stretch>
        </p:blipFill>
        <p:spPr>
          <a:xfrm>
            <a:off x="188596" y="1389722"/>
            <a:ext cx="8766808" cy="4925995"/>
          </a:xfrm>
          <a:prstGeom prst="rect">
            <a:avLst/>
          </a:prstGeom>
        </p:spPr>
      </p:pic>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11" name="Textplatzhalter 5">
            <a:extLst>
              <a:ext uri="{FF2B5EF4-FFF2-40B4-BE49-F238E27FC236}">
                <a16:creationId xmlns:a16="http://schemas.microsoft.com/office/drawing/2014/main" id="{FF27579C-64D9-6E8E-76D3-CB3A31A68839}"/>
              </a:ext>
            </a:extLst>
          </p:cNvPr>
          <p:cNvSpPr>
            <a:spLocks noGrp="1"/>
          </p:cNvSpPr>
          <p:nvPr>
            <p:ph type="body" sz="quarter" idx="10"/>
          </p:nvPr>
        </p:nvSpPr>
        <p:spPr>
          <a:xfrm>
            <a:off x="108000" y="6642000"/>
            <a:ext cx="8928000" cy="216000"/>
          </a:xfrm>
        </p:spPr>
        <p:txBody>
          <a:bodyPr/>
          <a:lstStyle/>
          <a:p>
            <a:r>
              <a:rPr lang="de-DE" dirty="0"/>
              <a:t>(Bildquelle: FÖDIMA Projekt)</a:t>
            </a:r>
          </a:p>
          <a:p>
            <a:endParaRPr lang="de-DE" dirty="0"/>
          </a:p>
        </p:txBody>
      </p:sp>
      <p:grpSp>
        <p:nvGrpSpPr>
          <p:cNvPr id="16" name="Gruppieren 15">
            <a:extLst>
              <a:ext uri="{FF2B5EF4-FFF2-40B4-BE49-F238E27FC236}">
                <a16:creationId xmlns:a16="http://schemas.microsoft.com/office/drawing/2014/main" id="{43F33ED2-5557-84A9-EDA3-7F8EFD77B4AD}"/>
              </a:ext>
            </a:extLst>
          </p:cNvPr>
          <p:cNvGrpSpPr/>
          <p:nvPr/>
        </p:nvGrpSpPr>
        <p:grpSpPr>
          <a:xfrm>
            <a:off x="5622324" y="1668162"/>
            <a:ext cx="3208389" cy="1760838"/>
            <a:chOff x="5758249" y="1813583"/>
            <a:chExt cx="3208389" cy="1905801"/>
          </a:xfrm>
        </p:grpSpPr>
        <p:sp>
          <p:nvSpPr>
            <p:cNvPr id="9" name="Wolkenförmige Legende 9">
              <a:extLst>
                <a:ext uri="{FF2B5EF4-FFF2-40B4-BE49-F238E27FC236}">
                  <a16:creationId xmlns:a16="http://schemas.microsoft.com/office/drawing/2014/main" id="{A1731A0D-F595-E3F8-F7C9-172D2F920D60}"/>
                </a:ext>
              </a:extLst>
            </p:cNvPr>
            <p:cNvSpPr/>
            <p:nvPr/>
          </p:nvSpPr>
          <p:spPr bwMode="auto">
            <a:xfrm>
              <a:off x="5758249" y="1813583"/>
              <a:ext cx="3208389" cy="1905801"/>
            </a:xfrm>
            <a:prstGeom prst="cloudCallout">
              <a:avLst>
                <a:gd name="adj1" fmla="val -59739"/>
                <a:gd name="adj2" fmla="val 36887"/>
              </a:avLst>
            </a:prstGeom>
            <a:solidFill>
              <a:srgbClr val="CEDBE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DE" sz="2000" dirty="0">
                <a:latin typeface="Calibri" panose="020F0502020204030204" pitchFamily="34" charset="0"/>
              </a:endParaRPr>
            </a:p>
          </p:txBody>
        </p:sp>
        <p:sp>
          <p:nvSpPr>
            <p:cNvPr id="14" name="Textfeld 13">
              <a:extLst>
                <a:ext uri="{FF2B5EF4-FFF2-40B4-BE49-F238E27FC236}">
                  <a16:creationId xmlns:a16="http://schemas.microsoft.com/office/drawing/2014/main" id="{574B3483-3E24-B55A-9561-ADC20C45F58B}"/>
                </a:ext>
              </a:extLst>
            </p:cNvPr>
            <p:cNvSpPr txBox="1"/>
            <p:nvPr/>
          </p:nvSpPr>
          <p:spPr>
            <a:xfrm>
              <a:off x="5803308" y="2161589"/>
              <a:ext cx="3086100" cy="1299147"/>
            </a:xfrm>
            <a:prstGeom prst="rect">
              <a:avLst/>
            </a:prstGeom>
            <a:noFill/>
          </p:spPr>
          <p:txBody>
            <a:bodyPr wrap="square">
              <a:spAutoFit/>
            </a:bodyPr>
            <a:lstStyle/>
            <a:p>
              <a:pPr algn="ctr"/>
              <a:r>
                <a:rPr lang="de-DE" sz="1800" dirty="0">
                  <a:latin typeface="Calibri" panose="020F0502020204030204" pitchFamily="34" charset="0"/>
                </a:rPr>
                <a:t>Welche Räume sehen Sie </a:t>
              </a:r>
            </a:p>
            <a:p>
              <a:pPr algn="ctr"/>
              <a:r>
                <a:rPr lang="de-DE" sz="1800" dirty="0">
                  <a:latin typeface="Calibri" panose="020F0502020204030204" pitchFamily="34" charset="0"/>
                </a:rPr>
                <a:t>in Ihrem eigenen Unterricht, </a:t>
              </a:r>
            </a:p>
            <a:p>
              <a:pPr algn="ctr"/>
              <a:r>
                <a:rPr lang="de-DE" sz="1800" dirty="0">
                  <a:latin typeface="Calibri" panose="020F0502020204030204" pitchFamily="34" charset="0"/>
                </a:rPr>
                <a:t>um Diagnose und Förderung einzubinden?</a:t>
              </a:r>
            </a:p>
          </p:txBody>
        </p:sp>
      </p:grpSp>
      <p:sp>
        <p:nvSpPr>
          <p:cNvPr id="17" name="Rechteck 16">
            <a:extLst>
              <a:ext uri="{FF2B5EF4-FFF2-40B4-BE49-F238E27FC236}">
                <a16:creationId xmlns:a16="http://schemas.microsoft.com/office/drawing/2014/main" id="{8E745F03-B4EF-E324-38C7-ADE72ABFE4DB}"/>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spTree>
    <p:extLst>
      <p:ext uri="{BB962C8B-B14F-4D97-AF65-F5344CB8AC3E}">
        <p14:creationId xmlns:p14="http://schemas.microsoft.com/office/powerpoint/2010/main" val="402030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4A4E1D88-B17B-1DE6-A511-749E54E69262}"/>
              </a:ext>
            </a:extLst>
          </p:cNvPr>
          <p:cNvPicPr>
            <a:picLocks noChangeAspect="1"/>
          </p:cNvPicPr>
          <p:nvPr/>
        </p:nvPicPr>
        <p:blipFill>
          <a:blip r:embed="rId3">
            <a:alphaModFix amt="70000"/>
          </a:blip>
          <a:stretch>
            <a:fillRect/>
          </a:stretch>
        </p:blipFill>
        <p:spPr>
          <a:xfrm>
            <a:off x="188596" y="1389722"/>
            <a:ext cx="8766808" cy="4925995"/>
          </a:xfrm>
          <a:prstGeom prst="rect">
            <a:avLst/>
          </a:prstGeom>
        </p:spPr>
      </p:pic>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11" name="Textplatzhalter 5">
            <a:extLst>
              <a:ext uri="{FF2B5EF4-FFF2-40B4-BE49-F238E27FC236}">
                <a16:creationId xmlns:a16="http://schemas.microsoft.com/office/drawing/2014/main" id="{FF27579C-64D9-6E8E-76D3-CB3A31A68839}"/>
              </a:ext>
            </a:extLst>
          </p:cNvPr>
          <p:cNvSpPr>
            <a:spLocks noGrp="1"/>
          </p:cNvSpPr>
          <p:nvPr>
            <p:ph type="body" sz="quarter" idx="10"/>
          </p:nvPr>
        </p:nvSpPr>
        <p:spPr>
          <a:xfrm>
            <a:off x="108000" y="6642000"/>
            <a:ext cx="8928000" cy="216000"/>
          </a:xfrm>
        </p:spPr>
        <p:txBody>
          <a:bodyPr/>
          <a:lstStyle/>
          <a:p>
            <a:r>
              <a:rPr lang="de-DE" dirty="0"/>
              <a:t>(Bildquelle: FÖDIMA Projekt)</a:t>
            </a:r>
          </a:p>
          <a:p>
            <a:endParaRPr lang="de-DE" dirty="0"/>
          </a:p>
        </p:txBody>
      </p:sp>
      <p:sp>
        <p:nvSpPr>
          <p:cNvPr id="17" name="Rechteck 16">
            <a:extLst>
              <a:ext uri="{FF2B5EF4-FFF2-40B4-BE49-F238E27FC236}">
                <a16:creationId xmlns:a16="http://schemas.microsoft.com/office/drawing/2014/main" id="{8E745F03-B4EF-E324-38C7-ADE72ABFE4DB}"/>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2" name="Textfeld 1">
            <a:extLst>
              <a:ext uri="{FF2B5EF4-FFF2-40B4-BE49-F238E27FC236}">
                <a16:creationId xmlns:a16="http://schemas.microsoft.com/office/drawing/2014/main" id="{D9114492-C058-1894-5FFB-07F7869E41C0}"/>
              </a:ext>
            </a:extLst>
          </p:cNvPr>
          <p:cNvSpPr txBox="1"/>
          <p:nvPr/>
        </p:nvSpPr>
        <p:spPr>
          <a:xfrm>
            <a:off x="4132126" y="5040636"/>
            <a:ext cx="2205846" cy="1021556"/>
          </a:xfrm>
          <a:prstGeom prst="roundRect">
            <a:avLst/>
          </a:prstGeom>
          <a:solidFill>
            <a:schemeClr val="accent2"/>
          </a:solidFill>
        </p:spPr>
        <p:txBody>
          <a:bodyPr wrap="square">
            <a:spAutoFit/>
          </a:bodyPr>
          <a:lstStyle>
            <a:defPPr>
              <a:defRPr lang="de-DE"/>
            </a:defPPr>
            <a:lvl1pPr algn="ctr">
              <a:defRPr>
                <a:solidFill>
                  <a:schemeClr val="bg1"/>
                </a:solidFill>
                <a:latin typeface="+mn-lt"/>
              </a:defRPr>
            </a:lvl1pPr>
          </a:lstStyle>
          <a:p>
            <a:r>
              <a:rPr lang="de-DE" sz="1800" dirty="0"/>
              <a:t>Ritual mit der ganzen Klasse (z. B. zum Einstieg)</a:t>
            </a:r>
          </a:p>
        </p:txBody>
      </p:sp>
      <p:sp>
        <p:nvSpPr>
          <p:cNvPr id="4" name="Textfeld 3">
            <a:extLst>
              <a:ext uri="{FF2B5EF4-FFF2-40B4-BE49-F238E27FC236}">
                <a16:creationId xmlns:a16="http://schemas.microsoft.com/office/drawing/2014/main" id="{D43347C0-CDCD-7E95-DEC2-D518E8C5402D}"/>
              </a:ext>
            </a:extLst>
          </p:cNvPr>
          <p:cNvSpPr txBox="1"/>
          <p:nvPr/>
        </p:nvSpPr>
        <p:spPr>
          <a:xfrm>
            <a:off x="376309" y="5047227"/>
            <a:ext cx="1822788" cy="1021556"/>
          </a:xfrm>
          <a:prstGeom prst="roundRect">
            <a:avLst/>
          </a:prstGeom>
          <a:solidFill>
            <a:schemeClr val="accent2"/>
          </a:solidFill>
        </p:spPr>
        <p:txBody>
          <a:bodyPr wrap="square">
            <a:spAutoFit/>
          </a:bodyPr>
          <a:lstStyle>
            <a:defPPr>
              <a:defRPr lang="de-DE"/>
            </a:defPPr>
            <a:lvl1pPr algn="ctr">
              <a:defRPr>
                <a:solidFill>
                  <a:schemeClr val="bg1"/>
                </a:solidFill>
                <a:latin typeface="+mn-lt"/>
              </a:defRPr>
            </a:lvl1pPr>
          </a:lstStyle>
          <a:p>
            <a:r>
              <a:rPr lang="de-DE" sz="1800" dirty="0"/>
              <a:t>Zwischendurch mit einzelnen Kindern</a:t>
            </a:r>
          </a:p>
        </p:txBody>
      </p:sp>
      <p:sp>
        <p:nvSpPr>
          <p:cNvPr id="7" name="Textfeld 6">
            <a:extLst>
              <a:ext uri="{FF2B5EF4-FFF2-40B4-BE49-F238E27FC236}">
                <a16:creationId xmlns:a16="http://schemas.microsoft.com/office/drawing/2014/main" id="{1012F5EC-C574-C1FA-C84E-7E4BF432EF5B}"/>
              </a:ext>
            </a:extLst>
          </p:cNvPr>
          <p:cNvSpPr txBox="1"/>
          <p:nvPr/>
        </p:nvSpPr>
        <p:spPr>
          <a:xfrm>
            <a:off x="2485990" y="5200460"/>
            <a:ext cx="1359243" cy="715089"/>
          </a:xfrm>
          <a:prstGeom prst="roundRect">
            <a:avLst/>
          </a:prstGeom>
          <a:solidFill>
            <a:schemeClr val="accent2"/>
          </a:solidFill>
        </p:spPr>
        <p:txBody>
          <a:bodyPr wrap="square">
            <a:spAutoFit/>
          </a:bodyPr>
          <a:lstStyle>
            <a:defPPr>
              <a:defRPr lang="de-DE"/>
            </a:defPPr>
            <a:lvl1pPr algn="ctr">
              <a:defRPr>
                <a:solidFill>
                  <a:schemeClr val="bg1"/>
                </a:solidFill>
                <a:latin typeface="+mn-lt"/>
              </a:defRPr>
            </a:lvl1pPr>
          </a:lstStyle>
          <a:p>
            <a:r>
              <a:rPr lang="de-DE" sz="1800" dirty="0"/>
              <a:t>in Förder-gruppen</a:t>
            </a:r>
          </a:p>
        </p:txBody>
      </p:sp>
      <p:sp>
        <p:nvSpPr>
          <p:cNvPr id="8" name="Textfeld 7">
            <a:extLst>
              <a:ext uri="{FF2B5EF4-FFF2-40B4-BE49-F238E27FC236}">
                <a16:creationId xmlns:a16="http://schemas.microsoft.com/office/drawing/2014/main" id="{BC81776B-DCBC-7191-0200-2767AA93F73C}"/>
              </a:ext>
            </a:extLst>
          </p:cNvPr>
          <p:cNvSpPr txBox="1"/>
          <p:nvPr/>
        </p:nvSpPr>
        <p:spPr>
          <a:xfrm>
            <a:off x="6624866" y="5040636"/>
            <a:ext cx="2205847" cy="1021556"/>
          </a:xfrm>
          <a:prstGeom prst="roundRect">
            <a:avLst/>
          </a:prstGeom>
          <a:solidFill>
            <a:schemeClr val="accent2"/>
          </a:solidFill>
        </p:spPr>
        <p:txBody>
          <a:bodyPr wrap="square">
            <a:spAutoFit/>
          </a:bodyPr>
          <a:lstStyle>
            <a:defPPr>
              <a:defRPr lang="de-DE"/>
            </a:defPPr>
            <a:lvl1pPr algn="ctr">
              <a:defRPr>
                <a:solidFill>
                  <a:schemeClr val="bg1"/>
                </a:solidFill>
                <a:latin typeface="+mn-lt"/>
              </a:defRPr>
            </a:lvl1pPr>
          </a:lstStyle>
          <a:p>
            <a:r>
              <a:rPr lang="de-DE" sz="1800" dirty="0"/>
              <a:t>Aufbau einer ganzen Unterrichtseinheit um die Aktivität</a:t>
            </a:r>
          </a:p>
        </p:txBody>
      </p:sp>
      <p:grpSp>
        <p:nvGrpSpPr>
          <p:cNvPr id="12" name="Gruppieren 11">
            <a:extLst>
              <a:ext uri="{FF2B5EF4-FFF2-40B4-BE49-F238E27FC236}">
                <a16:creationId xmlns:a16="http://schemas.microsoft.com/office/drawing/2014/main" id="{B2F9686D-B4B2-3D33-8814-437EDDD4515B}"/>
              </a:ext>
            </a:extLst>
          </p:cNvPr>
          <p:cNvGrpSpPr/>
          <p:nvPr/>
        </p:nvGrpSpPr>
        <p:grpSpPr>
          <a:xfrm>
            <a:off x="5622324" y="1668162"/>
            <a:ext cx="3208389" cy="1760838"/>
            <a:chOff x="5758249" y="1813583"/>
            <a:chExt cx="3208389" cy="1905801"/>
          </a:xfrm>
        </p:grpSpPr>
        <p:sp>
          <p:nvSpPr>
            <p:cNvPr id="13" name="Wolkenförmige Legende 9">
              <a:extLst>
                <a:ext uri="{FF2B5EF4-FFF2-40B4-BE49-F238E27FC236}">
                  <a16:creationId xmlns:a16="http://schemas.microsoft.com/office/drawing/2014/main" id="{0085DDDA-953D-E6D5-B041-819AC56DB9CD}"/>
                </a:ext>
              </a:extLst>
            </p:cNvPr>
            <p:cNvSpPr/>
            <p:nvPr/>
          </p:nvSpPr>
          <p:spPr bwMode="auto">
            <a:xfrm>
              <a:off x="5758249" y="1813583"/>
              <a:ext cx="3208389" cy="1905801"/>
            </a:xfrm>
            <a:prstGeom prst="cloudCallout">
              <a:avLst>
                <a:gd name="adj1" fmla="val -59739"/>
                <a:gd name="adj2" fmla="val 36887"/>
              </a:avLst>
            </a:prstGeom>
            <a:solidFill>
              <a:srgbClr val="CEDBE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de-DE" sz="2000" dirty="0">
                <a:latin typeface="Calibri" panose="020F0502020204030204" pitchFamily="34" charset="0"/>
              </a:endParaRPr>
            </a:p>
          </p:txBody>
        </p:sp>
        <p:sp>
          <p:nvSpPr>
            <p:cNvPr id="15" name="Textfeld 14">
              <a:extLst>
                <a:ext uri="{FF2B5EF4-FFF2-40B4-BE49-F238E27FC236}">
                  <a16:creationId xmlns:a16="http://schemas.microsoft.com/office/drawing/2014/main" id="{10F5DAED-69C1-89A7-610D-85CB3CBC47DA}"/>
                </a:ext>
              </a:extLst>
            </p:cNvPr>
            <p:cNvSpPr txBox="1"/>
            <p:nvPr/>
          </p:nvSpPr>
          <p:spPr>
            <a:xfrm>
              <a:off x="5803308" y="2161589"/>
              <a:ext cx="3086100" cy="1299147"/>
            </a:xfrm>
            <a:prstGeom prst="rect">
              <a:avLst/>
            </a:prstGeom>
            <a:noFill/>
          </p:spPr>
          <p:txBody>
            <a:bodyPr wrap="square">
              <a:spAutoFit/>
            </a:bodyPr>
            <a:lstStyle/>
            <a:p>
              <a:pPr algn="ctr"/>
              <a:r>
                <a:rPr lang="de-DE" sz="1800" dirty="0">
                  <a:latin typeface="Calibri" panose="020F0502020204030204" pitchFamily="34" charset="0"/>
                </a:rPr>
                <a:t>Welche Räume sehen Sie </a:t>
              </a:r>
            </a:p>
            <a:p>
              <a:pPr algn="ctr"/>
              <a:r>
                <a:rPr lang="de-DE" sz="1800" dirty="0">
                  <a:latin typeface="Calibri" panose="020F0502020204030204" pitchFamily="34" charset="0"/>
                </a:rPr>
                <a:t>in Ihrem eigenen Unterricht, </a:t>
              </a:r>
            </a:p>
            <a:p>
              <a:pPr algn="ctr"/>
              <a:r>
                <a:rPr lang="de-DE" sz="1800" dirty="0">
                  <a:latin typeface="Calibri" panose="020F0502020204030204" pitchFamily="34" charset="0"/>
                </a:rPr>
                <a:t>um Diagnose und Förderung einzubinden?</a:t>
              </a:r>
            </a:p>
          </p:txBody>
        </p:sp>
      </p:grpSp>
    </p:spTree>
    <p:extLst>
      <p:ext uri="{BB962C8B-B14F-4D97-AF65-F5344CB8AC3E}">
        <p14:creationId xmlns:p14="http://schemas.microsoft.com/office/powerpoint/2010/main" val="7162352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B8B47599-DFE5-3FC9-E4D3-F03D19132849}"/>
              </a:ext>
            </a:extLst>
          </p:cNvPr>
          <p:cNvGrpSpPr/>
          <p:nvPr/>
        </p:nvGrpSpPr>
        <p:grpSpPr>
          <a:xfrm>
            <a:off x="107788" y="274288"/>
            <a:ext cx="8928424" cy="927211"/>
            <a:chOff x="0" y="0"/>
            <a:chExt cx="5818764" cy="733300"/>
          </a:xfrm>
        </p:grpSpPr>
        <p:sp>
          <p:nvSpPr>
            <p:cNvPr id="10" name="Gefaltete Ecke 8">
              <a:extLst>
                <a:ext uri="{FF2B5EF4-FFF2-40B4-BE49-F238E27FC236}">
                  <a16:creationId xmlns:a16="http://schemas.microsoft.com/office/drawing/2014/main" id="{006595EB-B4C1-021C-7953-839033FEA07D}"/>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2" name="Textfeld 1">
              <a:extLst>
                <a:ext uri="{FF2B5EF4-FFF2-40B4-BE49-F238E27FC236}">
                  <a16:creationId xmlns:a16="http://schemas.microsoft.com/office/drawing/2014/main" id="{43D89339-43BA-C3B6-B5AB-5FB2FB7BADD7}"/>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14" name="Picture 3">
            <a:extLst>
              <a:ext uri="{FF2B5EF4-FFF2-40B4-BE49-F238E27FC236}">
                <a16:creationId xmlns:a16="http://schemas.microsoft.com/office/drawing/2014/main" id="{58E0BB2A-C5D6-5A46-F959-96A0FE357C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 name="Rechteck 1">
            <a:extLst>
              <a:ext uri="{FF2B5EF4-FFF2-40B4-BE49-F238E27FC236}">
                <a16:creationId xmlns:a16="http://schemas.microsoft.com/office/drawing/2014/main" id="{D4CF9181-2FEC-4C73-6989-931ACBB92E58}"/>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a:t>
            </a:r>
            <a:r>
              <a:rPr lang="de-DE" sz="180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5" name="Textplatzhalter 5">
            <a:extLst>
              <a:ext uri="{FF2B5EF4-FFF2-40B4-BE49-F238E27FC236}">
                <a16:creationId xmlns:a16="http://schemas.microsoft.com/office/drawing/2014/main" id="{BDADBDB9-1F0C-E7CF-038C-EBB0D1312C72}"/>
              </a:ext>
            </a:extLst>
          </p:cNvPr>
          <p:cNvSpPr>
            <a:spLocks noGrp="1"/>
          </p:cNvSpPr>
          <p:nvPr>
            <p:ph type="body" sz="quarter" idx="10"/>
          </p:nvPr>
        </p:nvSpPr>
        <p:spPr>
          <a:xfrm>
            <a:off x="108000" y="6642000"/>
            <a:ext cx="8928000" cy="216000"/>
          </a:xfrm>
        </p:spPr>
        <p:txBody>
          <a:bodyPr/>
          <a:lstStyle/>
          <a:p>
            <a:r>
              <a:rPr lang="de-DE" dirty="0">
                <a:latin typeface="Calibri" panose="020F0502020204030204" pitchFamily="34" charset="0"/>
                <a:cs typeface="Calibri" panose="020F0502020204030204" pitchFamily="34" charset="0"/>
              </a:rPr>
              <a:t>(Bildquellen: https://pikas.dzlm.de/node/2558, </a:t>
            </a:r>
            <a:r>
              <a:rPr lang="de-DE" b="0" i="0" strike="noStrike" dirty="0">
                <a:effectLst/>
                <a:latin typeface="Calibri" panose="020F0502020204030204" pitchFamily="34" charset="0"/>
                <a:cs typeface="Calibri" panose="020F0502020204030204" pitchFamily="34" charset="0"/>
              </a:rPr>
              <a:t>https://ben-weiss.de/foedima-app</a:t>
            </a:r>
            <a:r>
              <a:rPr lang="de-DE" b="0" i="0" u="none" strike="noStrike" dirty="0">
                <a:effectLst/>
                <a:latin typeface="Calibri" panose="020F0502020204030204" pitchFamily="34" charset="0"/>
                <a:cs typeface="Calibri" panose="020F0502020204030204" pitchFamily="34" charset="0"/>
              </a:rPr>
              <a:t>)</a:t>
            </a:r>
            <a:endParaRPr lang="de-DE" dirty="0">
              <a:latin typeface="Calibri" panose="020F0502020204030204" pitchFamily="34" charset="0"/>
              <a:cs typeface="Calibri" panose="020F0502020204030204" pitchFamily="34" charset="0"/>
            </a:endParaRPr>
          </a:p>
          <a:p>
            <a:endParaRPr lang="de-DE" dirty="0"/>
          </a:p>
        </p:txBody>
      </p:sp>
      <p:grpSp>
        <p:nvGrpSpPr>
          <p:cNvPr id="21" name="Gruppieren 20">
            <a:extLst>
              <a:ext uri="{FF2B5EF4-FFF2-40B4-BE49-F238E27FC236}">
                <a16:creationId xmlns:a16="http://schemas.microsoft.com/office/drawing/2014/main" id="{7782FD93-A5A9-CFFE-1D5D-EA6F51471B6A}"/>
              </a:ext>
            </a:extLst>
          </p:cNvPr>
          <p:cNvGrpSpPr/>
          <p:nvPr/>
        </p:nvGrpSpPr>
        <p:grpSpPr>
          <a:xfrm>
            <a:off x="4093989" y="2896482"/>
            <a:ext cx="4948749" cy="2450992"/>
            <a:chOff x="4093989" y="2743766"/>
            <a:chExt cx="4948749" cy="2450992"/>
          </a:xfrm>
        </p:grpSpPr>
        <p:pic>
          <p:nvPicPr>
            <p:cNvPr id="1034" name="Picture 10">
              <a:extLst>
                <a:ext uri="{FF2B5EF4-FFF2-40B4-BE49-F238E27FC236}">
                  <a16:creationId xmlns:a16="http://schemas.microsoft.com/office/drawing/2014/main" id="{49D7B271-460B-8060-BA6F-B966AE8100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43422" y="2745567"/>
              <a:ext cx="1599315" cy="119948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E3E1E382-9CFF-F886-7CEF-38F25693FFA2}"/>
                </a:ext>
              </a:extLst>
            </p:cNvPr>
            <p:cNvPicPr>
              <a:picLocks noChangeAspect="1" noChangeArrowheads="1"/>
            </p:cNvPicPr>
            <p:nvPr/>
          </p:nvPicPr>
          <p:blipFill>
            <a:blip r:embed="rId5"/>
            <a:srcRect/>
            <a:stretch/>
          </p:blipFill>
          <p:spPr bwMode="auto">
            <a:xfrm>
              <a:off x="7443422" y="3991580"/>
              <a:ext cx="1599316" cy="119948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00C80D69-18C4-D0DD-732E-86D95D67EF1B}"/>
                </a:ext>
              </a:extLst>
            </p:cNvPr>
            <p:cNvPicPr>
              <a:picLocks noChangeAspect="1" noChangeArrowheads="1"/>
            </p:cNvPicPr>
            <p:nvPr/>
          </p:nvPicPr>
          <p:blipFill>
            <a:blip r:embed="rId6"/>
            <a:srcRect/>
            <a:stretch/>
          </p:blipFill>
          <p:spPr bwMode="auto">
            <a:xfrm>
              <a:off x="4093989" y="2743766"/>
              <a:ext cx="3265629" cy="2450992"/>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extfeld 6">
            <a:extLst>
              <a:ext uri="{FF2B5EF4-FFF2-40B4-BE49-F238E27FC236}">
                <a16:creationId xmlns:a16="http://schemas.microsoft.com/office/drawing/2014/main" id="{B49AA84D-8430-5D26-FC5B-9B688B94D7E9}"/>
              </a:ext>
            </a:extLst>
          </p:cNvPr>
          <p:cNvSpPr txBox="1"/>
          <p:nvPr/>
        </p:nvSpPr>
        <p:spPr>
          <a:xfrm>
            <a:off x="575142" y="1395359"/>
            <a:ext cx="5457358" cy="461665"/>
          </a:xfrm>
          <a:prstGeom prst="rect">
            <a:avLst/>
          </a:prstGeom>
          <a:noFill/>
        </p:spPr>
        <p:txBody>
          <a:bodyPr wrap="square">
            <a:spAutoFit/>
          </a:bodyPr>
          <a:lstStyle/>
          <a:p>
            <a:r>
              <a:rPr lang="de-DE" b="1" dirty="0">
                <a:solidFill>
                  <a:srgbClr val="327A86"/>
                </a:solidFill>
                <a:latin typeface="+mj-lt"/>
              </a:rPr>
              <a:t>Zusätzliches Material:</a:t>
            </a:r>
          </a:p>
        </p:txBody>
      </p:sp>
      <p:cxnSp>
        <p:nvCxnSpPr>
          <p:cNvPr id="11" name="Gerader Verbinder 10">
            <a:extLst>
              <a:ext uri="{FF2B5EF4-FFF2-40B4-BE49-F238E27FC236}">
                <a16:creationId xmlns:a16="http://schemas.microsoft.com/office/drawing/2014/main" id="{A3A1051C-FB9C-3BD9-0EE0-ECE98B20D692}"/>
              </a:ext>
            </a:extLst>
          </p:cNvPr>
          <p:cNvCxnSpPr>
            <a:cxnSpLocks/>
          </p:cNvCxnSpPr>
          <p:nvPr/>
        </p:nvCxnSpPr>
        <p:spPr bwMode="auto">
          <a:xfrm>
            <a:off x="3808208" y="1857024"/>
            <a:ext cx="0" cy="4784976"/>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nvGrpSpPr>
          <p:cNvPr id="30" name="Gruppieren 29">
            <a:extLst>
              <a:ext uri="{FF2B5EF4-FFF2-40B4-BE49-F238E27FC236}">
                <a16:creationId xmlns:a16="http://schemas.microsoft.com/office/drawing/2014/main" id="{5588581B-F8D0-1E75-468B-9BD079F96809}"/>
              </a:ext>
            </a:extLst>
          </p:cNvPr>
          <p:cNvGrpSpPr/>
          <p:nvPr/>
        </p:nvGrpSpPr>
        <p:grpSpPr>
          <a:xfrm>
            <a:off x="232200" y="1901935"/>
            <a:ext cx="7517182" cy="791718"/>
            <a:chOff x="232200" y="2050884"/>
            <a:chExt cx="7517182" cy="791718"/>
          </a:xfrm>
        </p:grpSpPr>
        <p:grpSp>
          <p:nvGrpSpPr>
            <p:cNvPr id="8" name="Gruppieren 7">
              <a:extLst>
                <a:ext uri="{FF2B5EF4-FFF2-40B4-BE49-F238E27FC236}">
                  <a16:creationId xmlns:a16="http://schemas.microsoft.com/office/drawing/2014/main" id="{D8B8EA67-6050-77B5-BAF2-0F002873BA0B}"/>
                </a:ext>
              </a:extLst>
            </p:cNvPr>
            <p:cNvGrpSpPr/>
            <p:nvPr/>
          </p:nvGrpSpPr>
          <p:grpSpPr>
            <a:xfrm>
              <a:off x="5094826" y="2050884"/>
              <a:ext cx="2654556" cy="791718"/>
              <a:chOff x="296482" y="1425513"/>
              <a:chExt cx="2654556" cy="791718"/>
            </a:xfrm>
          </p:grpSpPr>
          <p:pic>
            <p:nvPicPr>
              <p:cNvPr id="6" name="Picture 4">
                <a:extLst>
                  <a:ext uri="{FF2B5EF4-FFF2-40B4-BE49-F238E27FC236}">
                    <a16:creationId xmlns:a16="http://schemas.microsoft.com/office/drawing/2014/main" id="{AC9B4D18-85DC-C76C-BCED-8F0E4BF963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6482" y="1425513"/>
                <a:ext cx="795417" cy="791718"/>
              </a:xfrm>
              <a:prstGeom prst="roundRect">
                <a:avLst>
                  <a:gd name="adj" fmla="val 23652"/>
                </a:avLst>
              </a:prstGeom>
              <a:noFill/>
              <a:ln w="19050">
                <a:solidFill>
                  <a:srgbClr val="327A8A"/>
                </a:solidFill>
              </a:ln>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B413813E-FFF4-B8AD-FFF2-780DEB865534}"/>
                  </a:ext>
                </a:extLst>
              </p:cNvPr>
              <p:cNvSpPr txBox="1"/>
              <p:nvPr/>
            </p:nvSpPr>
            <p:spPr>
              <a:xfrm>
                <a:off x="1091899" y="1513622"/>
                <a:ext cx="1859139" cy="400110"/>
              </a:xfrm>
              <a:prstGeom prst="rect">
                <a:avLst/>
              </a:prstGeom>
              <a:noFill/>
            </p:spPr>
            <p:txBody>
              <a:bodyPr wrap="square">
                <a:spAutoFit/>
              </a:bodyPr>
              <a:lstStyle/>
              <a:p>
                <a:r>
                  <a:rPr lang="de-DE" sz="2000" b="1" dirty="0">
                    <a:solidFill>
                      <a:srgbClr val="327A86"/>
                    </a:solidFill>
                    <a:latin typeface="+mj-lt"/>
                  </a:rPr>
                  <a:t>FÖDIMA-App</a:t>
                </a:r>
              </a:p>
            </p:txBody>
          </p:sp>
        </p:grpSp>
        <p:sp>
          <p:nvSpPr>
            <p:cNvPr id="19" name="Textfeld 18">
              <a:extLst>
                <a:ext uri="{FF2B5EF4-FFF2-40B4-BE49-F238E27FC236}">
                  <a16:creationId xmlns:a16="http://schemas.microsoft.com/office/drawing/2014/main" id="{DA1E22E9-891C-AF51-EB0B-B77D8502DE2E}"/>
                </a:ext>
              </a:extLst>
            </p:cNvPr>
            <p:cNvSpPr txBox="1"/>
            <p:nvPr/>
          </p:nvSpPr>
          <p:spPr>
            <a:xfrm>
              <a:off x="232200" y="2139958"/>
              <a:ext cx="3505474" cy="400110"/>
            </a:xfrm>
            <a:prstGeom prst="rect">
              <a:avLst/>
            </a:prstGeom>
            <a:noFill/>
          </p:spPr>
          <p:txBody>
            <a:bodyPr wrap="square">
              <a:spAutoFit/>
            </a:bodyPr>
            <a:lstStyle/>
            <a:p>
              <a:pPr algn="ctr"/>
              <a:r>
                <a:rPr lang="de-DE" sz="2000" b="1" dirty="0">
                  <a:solidFill>
                    <a:srgbClr val="327A86"/>
                  </a:solidFill>
                  <a:latin typeface="+mj-lt"/>
                </a:rPr>
                <a:t>Standortbestimmungen</a:t>
              </a:r>
            </a:p>
          </p:txBody>
        </p:sp>
      </p:grpSp>
      <p:grpSp>
        <p:nvGrpSpPr>
          <p:cNvPr id="31" name="Gruppieren 30">
            <a:extLst>
              <a:ext uri="{FF2B5EF4-FFF2-40B4-BE49-F238E27FC236}">
                <a16:creationId xmlns:a16="http://schemas.microsoft.com/office/drawing/2014/main" id="{C766829F-D7A2-4432-7BFE-8A537EDD6652}"/>
              </a:ext>
            </a:extLst>
          </p:cNvPr>
          <p:cNvGrpSpPr/>
          <p:nvPr/>
        </p:nvGrpSpPr>
        <p:grpSpPr>
          <a:xfrm>
            <a:off x="4093989" y="5623603"/>
            <a:ext cx="3580026" cy="776234"/>
            <a:chOff x="4093989" y="5623603"/>
            <a:chExt cx="3291465" cy="776234"/>
          </a:xfrm>
        </p:grpSpPr>
        <p:sp>
          <p:nvSpPr>
            <p:cNvPr id="20" name="Textfeld 19">
              <a:extLst>
                <a:ext uri="{FF2B5EF4-FFF2-40B4-BE49-F238E27FC236}">
                  <a16:creationId xmlns:a16="http://schemas.microsoft.com/office/drawing/2014/main" id="{557CEED5-2892-A3C5-ED9E-2783555ECAB2}"/>
                </a:ext>
              </a:extLst>
            </p:cNvPr>
            <p:cNvSpPr txBox="1"/>
            <p:nvPr/>
          </p:nvSpPr>
          <p:spPr>
            <a:xfrm>
              <a:off x="4959629" y="5724865"/>
              <a:ext cx="2425825" cy="523220"/>
            </a:xfrm>
            <a:prstGeom prst="rect">
              <a:avLst/>
            </a:prstGeom>
            <a:noFill/>
          </p:spPr>
          <p:txBody>
            <a:bodyPr wrap="square">
              <a:spAutoFit/>
            </a:bodyPr>
            <a:lstStyle/>
            <a:p>
              <a:r>
                <a:rPr lang="de-DE" sz="1400" dirty="0"/>
                <a:t>https://apps.apple.com/de/app/födima/id6449701903</a:t>
              </a:r>
            </a:p>
          </p:txBody>
        </p:sp>
        <p:pic>
          <p:nvPicPr>
            <p:cNvPr id="23" name="Grafik 22">
              <a:extLst>
                <a:ext uri="{FF2B5EF4-FFF2-40B4-BE49-F238E27FC236}">
                  <a16:creationId xmlns:a16="http://schemas.microsoft.com/office/drawing/2014/main" id="{8EE1BF2E-CF73-A678-0BF2-351FB78F6755}"/>
                </a:ext>
              </a:extLst>
            </p:cNvPr>
            <p:cNvPicPr>
              <a:picLocks noChangeAspect="1"/>
            </p:cNvPicPr>
            <p:nvPr/>
          </p:nvPicPr>
          <p:blipFill>
            <a:blip r:embed="rId8"/>
            <a:stretch>
              <a:fillRect/>
            </a:stretch>
          </p:blipFill>
          <p:spPr>
            <a:xfrm>
              <a:off x="4093989" y="5623603"/>
              <a:ext cx="776234" cy="776234"/>
            </a:xfrm>
            <a:prstGeom prst="rect">
              <a:avLst/>
            </a:prstGeom>
          </p:spPr>
        </p:pic>
      </p:grpSp>
      <p:pic>
        <p:nvPicPr>
          <p:cNvPr id="25" name="Grafik 24">
            <a:extLst>
              <a:ext uri="{FF2B5EF4-FFF2-40B4-BE49-F238E27FC236}">
                <a16:creationId xmlns:a16="http://schemas.microsoft.com/office/drawing/2014/main" id="{92480D5C-F5B9-3F01-5790-59619456257E}"/>
              </a:ext>
            </a:extLst>
          </p:cNvPr>
          <p:cNvPicPr>
            <a:picLocks noChangeAspect="1"/>
          </p:cNvPicPr>
          <p:nvPr/>
        </p:nvPicPr>
        <p:blipFill>
          <a:blip r:embed="rId9"/>
          <a:stretch>
            <a:fillRect/>
          </a:stretch>
        </p:blipFill>
        <p:spPr>
          <a:xfrm>
            <a:off x="415702" y="2590830"/>
            <a:ext cx="2105889" cy="1574044"/>
          </a:xfrm>
          <a:prstGeom prst="rect">
            <a:avLst/>
          </a:prstGeom>
        </p:spPr>
      </p:pic>
      <p:pic>
        <p:nvPicPr>
          <p:cNvPr id="27" name="Grafik 26">
            <a:extLst>
              <a:ext uri="{FF2B5EF4-FFF2-40B4-BE49-F238E27FC236}">
                <a16:creationId xmlns:a16="http://schemas.microsoft.com/office/drawing/2014/main" id="{4F6A0AB4-A56D-5470-D7D1-812BE7B221DA}"/>
              </a:ext>
            </a:extLst>
          </p:cNvPr>
          <p:cNvPicPr>
            <a:picLocks noChangeAspect="1"/>
          </p:cNvPicPr>
          <p:nvPr/>
        </p:nvPicPr>
        <p:blipFill>
          <a:blip r:embed="rId10"/>
          <a:stretch>
            <a:fillRect/>
          </a:stretch>
        </p:blipFill>
        <p:spPr>
          <a:xfrm>
            <a:off x="942843" y="3535412"/>
            <a:ext cx="2105889" cy="1569129"/>
          </a:xfrm>
          <a:prstGeom prst="rect">
            <a:avLst/>
          </a:prstGeom>
        </p:spPr>
      </p:pic>
      <p:pic>
        <p:nvPicPr>
          <p:cNvPr id="29" name="Grafik 28">
            <a:extLst>
              <a:ext uri="{FF2B5EF4-FFF2-40B4-BE49-F238E27FC236}">
                <a16:creationId xmlns:a16="http://schemas.microsoft.com/office/drawing/2014/main" id="{ACA7C142-3EF8-80A9-8307-8867B3CB794A}"/>
              </a:ext>
            </a:extLst>
          </p:cNvPr>
          <p:cNvPicPr>
            <a:picLocks noChangeAspect="1"/>
          </p:cNvPicPr>
          <p:nvPr/>
        </p:nvPicPr>
        <p:blipFill>
          <a:blip r:embed="rId11"/>
          <a:stretch>
            <a:fillRect/>
          </a:stretch>
        </p:blipFill>
        <p:spPr>
          <a:xfrm>
            <a:off x="1469985" y="4664542"/>
            <a:ext cx="2106495" cy="1574045"/>
          </a:xfrm>
          <a:prstGeom prst="rect">
            <a:avLst/>
          </a:prstGeom>
        </p:spPr>
      </p:pic>
    </p:spTree>
    <p:extLst>
      <p:ext uri="{BB962C8B-B14F-4D97-AF65-F5344CB8AC3E}">
        <p14:creationId xmlns:p14="http://schemas.microsoft.com/office/powerpoint/2010/main" val="1584411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dirty="0"/>
              <a:t>Diese Folie gehört mit zum Material und darf nicht entfernt werden.</a:t>
            </a:r>
          </a:p>
          <a:p>
            <a:pPr marL="285750" indent="-285750"/>
            <a:r>
              <a:rPr lang="de-DE" dirty="0"/>
              <a:t>Dieses Material wurde durch Christoph Selter und sein Team für das </a:t>
            </a:r>
            <a:r>
              <a:rPr lang="de-DE" dirty="0">
                <a:hlinkClick r:id="rId2"/>
              </a:rPr>
              <a:t>Deutsche Zentrum für Lehrerbildung Mathematik (DZLM)</a:t>
            </a:r>
            <a:r>
              <a:rPr lang="de-DE" dirty="0"/>
              <a:t> konzipiert und kann, soweit nicht anderweitig gekennzeichnet, unter der </a:t>
            </a:r>
            <a:r>
              <a:rPr lang="de-DE" dirty="0">
                <a:hlinkClick r:id="rId3"/>
              </a:rPr>
              <a:t>Creative Commons Lizenz BY-SA: Namensnennung – Weitergabe unter gleichen Bedingungen 4.0 International</a:t>
            </a:r>
            <a:r>
              <a:rPr lang="de-DE" dirty="0"/>
              <a:t> weiterverwendet werden.</a:t>
            </a:r>
          </a:p>
          <a:p>
            <a:pPr marL="285750" indent="-285750"/>
            <a:r>
              <a:rPr lang="de-DE" dirty="0"/>
              <a:t>Das bedeutet insbesondere: Alle Folien und Materialien können für Zwecke der Aus- und Fortbildung gerne genutzt werden – unter der Voraussetzung, dass immer die Quellenhinweise aufgeführt bleiben. </a:t>
            </a:r>
          </a:p>
          <a:p>
            <a:pPr marL="285750" indent="-285750"/>
            <a:r>
              <a:rPr lang="de-DE" dirty="0"/>
              <a:t>An der Erstellung des Materials haben mitgewirkt: Johanna Brandt, Stefanie </a:t>
            </a:r>
            <a:r>
              <a:rPr lang="de-DE" dirty="0" err="1"/>
              <a:t>Gatzka</a:t>
            </a:r>
            <a:r>
              <a:rPr lang="de-DE" dirty="0"/>
              <a:t>, Daniela Götze, Raja Herold-Blasius, Sarah Jaworek, Anja Kluge, Katharina </a:t>
            </a:r>
            <a:r>
              <a:rPr lang="de-DE" dirty="0" err="1"/>
              <a:t>Knaudt</a:t>
            </a:r>
            <a:r>
              <a:rPr lang="de-DE" dirty="0"/>
              <a:t>, Stefanie Menne, Christoph Selter, Esther Wensing</a:t>
            </a:r>
          </a:p>
          <a:p>
            <a:pPr marL="285750" indent="-285750"/>
            <a:r>
              <a:rPr lang="de-DE" dirty="0"/>
              <a:t>Dieses Material basiert auf Forschung und Entwicklung aus dem Projekt „</a:t>
            </a:r>
            <a:r>
              <a:rPr lang="de-DE" dirty="0" err="1"/>
              <a:t>SchuMaS</a:t>
            </a:r>
            <a:r>
              <a:rPr lang="de-DE" dirty="0"/>
              <a:t> – Schule macht stark“ (Projektnummer: SMS2101L). Das Modul ist angereichert durch Material aus den Projekten „</a:t>
            </a:r>
            <a:r>
              <a:rPr lang="de-DE" dirty="0" err="1"/>
              <a:t>Pikas</a:t>
            </a:r>
            <a:r>
              <a:rPr lang="de-DE" dirty="0"/>
              <a:t>“, „Kira – Kinder rechnen anders“, „MSK – Mathe sicher können“, „</a:t>
            </a:r>
            <a:r>
              <a:rPr lang="de-DE" dirty="0" err="1"/>
              <a:t>Mahiko</a:t>
            </a:r>
            <a:r>
              <a:rPr lang="de-DE" dirty="0"/>
              <a:t>“, „</a:t>
            </a:r>
            <a:r>
              <a:rPr lang="de-DE" dirty="0" err="1"/>
              <a:t>Faledia</a:t>
            </a:r>
            <a:r>
              <a:rPr lang="de-DE" dirty="0"/>
              <a:t>“ und „</a:t>
            </a:r>
            <a:r>
              <a:rPr lang="de-DE" dirty="0" err="1"/>
              <a:t>FöDiMa</a:t>
            </a:r>
            <a:r>
              <a:rPr lang="de-DE" dirty="0"/>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dirty="0"/>
              <a:t>Diese Folie gehört mit zum Material und darf nicht entfernt werden.</a:t>
            </a:r>
            <a:endParaRPr dirty="0"/>
          </a:p>
          <a:p>
            <a:pPr>
              <a:defRPr/>
            </a:pPr>
            <a:r>
              <a:rPr lang="de-DE" dirty="0"/>
              <a:t>Bildnachweise und Zitatquellen finden sich auf den jeweiligen Folien bzw. Zusatzmaterialien.</a:t>
            </a:r>
            <a:endParaRPr dirty="0"/>
          </a:p>
          <a:p>
            <a:pPr>
              <a:defRPr/>
            </a:pPr>
            <a:r>
              <a:rPr lang="de-DE" dirty="0"/>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dirty="0"/>
          </a:p>
          <a:p>
            <a:pPr>
              <a:defRPr/>
            </a:pPr>
            <a:r>
              <a:rPr lang="de-DE" dirty="0"/>
              <a:t>Eine andere Nutzung der Videos als in Lehrkräfteaus- und -fortbildung ist nicht erlaubt.</a:t>
            </a:r>
            <a:endParaRPr dirty="0"/>
          </a:p>
          <a:p>
            <a:pPr>
              <a:defRPr/>
            </a:pPr>
            <a:endParaRPr lang="de-DE" dirty="0"/>
          </a:p>
          <a:p>
            <a:pPr>
              <a:defRPr/>
            </a:pPr>
            <a:endParaRPr lang="de-DE" dirty="0"/>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7"/>
            <a:ext cx="8640000" cy="4368436"/>
          </a:xfrm>
        </p:spPr>
        <p:txBody>
          <a:bodyPr/>
          <a:lstStyle/>
          <a:p>
            <a:r>
              <a:rPr lang="de-DE" dirty="0"/>
              <a:t>Die nächsten Folien dienen dazu:</a:t>
            </a:r>
          </a:p>
          <a:p>
            <a:pPr lvl="1"/>
            <a:r>
              <a:rPr lang="de-DE" dirty="0"/>
              <a:t>die FÖDIMA-Kartei als geeignetes Instrument zur Diagnose und Förderung arithmetischer Basiskompetenzen in den ersten zwei Schuljahren kennenzulernen,</a:t>
            </a:r>
          </a:p>
          <a:p>
            <a:pPr lvl="1"/>
            <a:r>
              <a:rPr lang="de-DE" dirty="0"/>
              <a:t>den Aufbau der einzelnen Karten aufzuzeigen sowie </a:t>
            </a:r>
          </a:p>
          <a:p>
            <a:pPr lvl="1"/>
            <a:r>
              <a:rPr lang="de-DE" dirty="0"/>
              <a:t>die enge Vernetzung von Diagnose und Förderung durch den Aufbau der Kartei zu betrachten.</a:t>
            </a:r>
          </a:p>
          <a:p>
            <a:r>
              <a:rPr lang="de-DE" dirty="0"/>
              <a:t>Didaktische Umsetzung:</a:t>
            </a:r>
          </a:p>
          <a:p>
            <a:pPr lvl="1"/>
            <a:r>
              <a:rPr lang="de-DE" dirty="0"/>
              <a:t>Falls Sie im Rahmen der Konferenz einen </a:t>
            </a:r>
            <a:r>
              <a:rPr lang="de-DE" dirty="0" err="1"/>
              <a:t>Beamer</a:t>
            </a:r>
            <a:r>
              <a:rPr lang="de-DE" dirty="0"/>
              <a:t> zur Verfügung haben, präsentieren Sie die Folien Ihrem Kollegium. </a:t>
            </a:r>
          </a:p>
          <a:p>
            <a:pPr lvl="1"/>
            <a:r>
              <a:rPr lang="de-DE" dirty="0"/>
              <a:t>Alternativ: Drucken Sie die Folien, aus und nutzen Sie diese(s) zur Veranschaulichung Ihrer Ausführungen.</a:t>
            </a:r>
          </a:p>
          <a:p>
            <a:pPr lvl="1"/>
            <a:endParaRPr lang="de-DE" dirty="0"/>
          </a:p>
          <a:p>
            <a:pPr lvl="1"/>
            <a:endParaRPr lang="de-DE" dirty="0"/>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1217156499"/>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a:solidFill>
                            <a:schemeClr val="accent1"/>
                          </a:solidFill>
                        </a:rPr>
                        <a:t>Kernbotschaft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Vorstellung der FÖDIMA-Kartei</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4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6" name="Rechteck 5">
            <a:extLst>
              <a:ext uri="{FF2B5EF4-FFF2-40B4-BE49-F238E27FC236}">
                <a16:creationId xmlns:a16="http://schemas.microsoft.com/office/drawing/2014/main" id="{242A63DA-47FB-A523-2B7C-B5A8757B28BB}"/>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1" name="Rechteck 20">
            <a:extLst>
              <a:ext uri="{FF2B5EF4-FFF2-40B4-BE49-F238E27FC236}">
                <a16:creationId xmlns:a16="http://schemas.microsoft.com/office/drawing/2014/main" id="{1EC4E7F7-E37C-FB9E-7BF9-DF10C02D03C5}"/>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
        <p:nvSpPr>
          <p:cNvPr id="11" name="Textplatzhalter 5">
            <a:extLst>
              <a:ext uri="{FF2B5EF4-FFF2-40B4-BE49-F238E27FC236}">
                <a16:creationId xmlns:a16="http://schemas.microsoft.com/office/drawing/2014/main" id="{FF27579C-64D9-6E8E-76D3-CB3A31A68839}"/>
              </a:ext>
            </a:extLst>
          </p:cNvPr>
          <p:cNvSpPr>
            <a:spLocks noGrp="1"/>
          </p:cNvSpPr>
          <p:nvPr>
            <p:ph type="body" sz="quarter" idx="10"/>
          </p:nvPr>
        </p:nvSpPr>
        <p:spPr>
          <a:xfrm>
            <a:off x="108000" y="6642000"/>
            <a:ext cx="8928000" cy="216000"/>
          </a:xfrm>
        </p:spPr>
        <p:txBody>
          <a:bodyPr/>
          <a:lstStyle/>
          <a:p>
            <a:r>
              <a:rPr lang="de-DE" dirty="0">
                <a:latin typeface="Calibri" panose="020F0502020204030204" pitchFamily="34" charset="0"/>
                <a:cs typeface="Calibri" panose="020F0502020204030204" pitchFamily="34" charset="0"/>
              </a:rPr>
              <a:t>(Bildquelle: </a:t>
            </a:r>
            <a:r>
              <a:rPr lang="de-DE" b="0" i="0" strike="noStrike" dirty="0">
                <a:effectLst/>
                <a:latin typeface="Calibri" panose="020F0502020204030204" pitchFamily="34" charset="0"/>
                <a:cs typeface="Calibri" panose="020F0502020204030204" pitchFamily="34" charset="0"/>
              </a:rPr>
              <a:t>https://pikas.dzlm.de/node/</a:t>
            </a:r>
            <a:r>
              <a:rPr lang="de-DE" dirty="0">
                <a:latin typeface="Calibri" panose="020F0502020204030204" pitchFamily="34" charset="0"/>
                <a:cs typeface="Calibri" panose="020F0502020204030204" pitchFamily="34" charset="0"/>
              </a:rPr>
              <a:t>2558</a:t>
            </a:r>
            <a:r>
              <a:rPr lang="de-DE" b="0" i="0" u="none" strike="noStrike" dirty="0">
                <a:effectLst/>
                <a:latin typeface="Calibri" panose="020F0502020204030204" pitchFamily="34" charset="0"/>
                <a:cs typeface="Calibri" panose="020F0502020204030204" pitchFamily="34" charset="0"/>
              </a:rPr>
              <a:t>)</a:t>
            </a:r>
            <a:endParaRPr lang="de-DE" dirty="0">
              <a:latin typeface="Calibri" panose="020F0502020204030204" pitchFamily="34" charset="0"/>
              <a:cs typeface="Calibri" panose="020F0502020204030204" pitchFamily="34" charset="0"/>
            </a:endParaRPr>
          </a:p>
          <a:p>
            <a:endParaRPr lang="de-DE" dirty="0"/>
          </a:p>
        </p:txBody>
      </p:sp>
      <p:sp>
        <p:nvSpPr>
          <p:cNvPr id="12" name="Titel 3">
            <a:extLst>
              <a:ext uri="{FF2B5EF4-FFF2-40B4-BE49-F238E27FC236}">
                <a16:creationId xmlns:a16="http://schemas.microsoft.com/office/drawing/2014/main" id="{17ECC90C-3A3D-1539-EF4B-3578DF003DCB}"/>
              </a:ext>
            </a:extLst>
          </p:cNvPr>
          <p:cNvSpPr txBox="1">
            <a:spLocks/>
          </p:cNvSpPr>
          <p:nvPr/>
        </p:nvSpPr>
        <p:spPr>
          <a:xfrm>
            <a:off x="252000" y="1322469"/>
            <a:ext cx="8640000" cy="393152"/>
          </a:xfrm>
          <a:prstGeom prst="rect">
            <a:avLst/>
          </a:prstGeom>
        </p:spPr>
        <p:txBody>
          <a:bodyPr vert="horz" lIns="0" tIns="0" rIns="0" bIns="0" rtlCol="0" anchor="t" anchorCtr="0">
            <a:noAutofit/>
          </a:bodyPr>
          <a:lstStyle>
            <a:lvl1pPr algn="l" rtl="0" eaLnBrk="1" fontAlgn="base" hangingPunct="1">
              <a:spcBef>
                <a:spcPct val="0"/>
              </a:spcBef>
              <a:spcAft>
                <a:spcPct val="0"/>
              </a:spcAft>
              <a:defRPr sz="2200" b="1">
                <a:solidFill>
                  <a:srgbClr val="327A86"/>
                </a:solidFill>
                <a:latin typeface="+mj-lt"/>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a:lstStyle>
          <a:p>
            <a:r>
              <a:rPr lang="de-DE" dirty="0"/>
              <a:t>FÖDIMA </a:t>
            </a:r>
            <a:r>
              <a:rPr lang="de-DE" b="0" i="1" dirty="0"/>
              <a:t>Aufbau der Kartei</a:t>
            </a:r>
            <a:endParaRPr lang="de-DE" kern="0" dirty="0"/>
          </a:p>
        </p:txBody>
      </p:sp>
      <p:pic>
        <p:nvPicPr>
          <p:cNvPr id="7" name="Grafik 6">
            <a:extLst>
              <a:ext uri="{FF2B5EF4-FFF2-40B4-BE49-F238E27FC236}">
                <a16:creationId xmlns:a16="http://schemas.microsoft.com/office/drawing/2014/main" id="{177BF64F-01B3-39FE-7595-C4394F13D2C5}"/>
              </a:ext>
            </a:extLst>
          </p:cNvPr>
          <p:cNvPicPr>
            <a:picLocks noChangeAspect="1"/>
          </p:cNvPicPr>
          <p:nvPr/>
        </p:nvPicPr>
        <p:blipFill>
          <a:blip r:embed="rId4"/>
          <a:stretch>
            <a:fillRect/>
          </a:stretch>
        </p:blipFill>
        <p:spPr>
          <a:xfrm>
            <a:off x="1504208" y="1855395"/>
            <a:ext cx="6135584" cy="4330999"/>
          </a:xfrm>
          <a:prstGeom prst="rect">
            <a:avLst/>
          </a:prstGeom>
          <a:ln>
            <a:solidFill>
              <a:schemeClr val="accent6">
                <a:lumMod val="50000"/>
              </a:schemeClr>
            </a:solidFill>
          </a:ln>
        </p:spPr>
      </p:pic>
    </p:spTree>
    <p:extLst>
      <p:ext uri="{BB962C8B-B14F-4D97-AF65-F5344CB8AC3E}">
        <p14:creationId xmlns:p14="http://schemas.microsoft.com/office/powerpoint/2010/main" val="3172927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1" name="Rechteck 20">
            <a:extLst>
              <a:ext uri="{FF2B5EF4-FFF2-40B4-BE49-F238E27FC236}">
                <a16:creationId xmlns:a16="http://schemas.microsoft.com/office/drawing/2014/main" id="{1EC4E7F7-E37C-FB9E-7BF9-DF10C02D03C5}"/>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
        <p:nvSpPr>
          <p:cNvPr id="11" name="Textplatzhalter 5">
            <a:extLst>
              <a:ext uri="{FF2B5EF4-FFF2-40B4-BE49-F238E27FC236}">
                <a16:creationId xmlns:a16="http://schemas.microsoft.com/office/drawing/2014/main" id="{FF27579C-64D9-6E8E-76D3-CB3A31A68839}"/>
              </a:ext>
            </a:extLst>
          </p:cNvPr>
          <p:cNvSpPr>
            <a:spLocks noGrp="1"/>
          </p:cNvSpPr>
          <p:nvPr>
            <p:ph type="body" sz="quarter" idx="10"/>
          </p:nvPr>
        </p:nvSpPr>
        <p:spPr>
          <a:xfrm>
            <a:off x="108000" y="6642000"/>
            <a:ext cx="8928000" cy="216000"/>
          </a:xfrm>
        </p:spPr>
        <p:txBody>
          <a:bodyPr/>
          <a:lstStyle/>
          <a:p>
            <a:r>
              <a:rPr lang="de-DE" dirty="0">
                <a:latin typeface="Calibri" panose="020F0502020204030204" pitchFamily="34" charset="0"/>
                <a:cs typeface="Calibri" panose="020F0502020204030204" pitchFamily="34" charset="0"/>
              </a:rPr>
              <a:t>(Bildquelle: </a:t>
            </a:r>
            <a:r>
              <a:rPr lang="de-DE" b="0" i="0" strike="noStrike" dirty="0">
                <a:effectLst/>
                <a:latin typeface="Calibri" panose="020F0502020204030204" pitchFamily="34" charset="0"/>
                <a:cs typeface="Calibri" panose="020F0502020204030204" pitchFamily="34" charset="0"/>
              </a:rPr>
              <a:t>https://pikas.dzlm.de/node/</a:t>
            </a:r>
            <a:r>
              <a:rPr lang="de-DE" dirty="0">
                <a:latin typeface="Calibri" panose="020F0502020204030204" pitchFamily="34" charset="0"/>
                <a:cs typeface="Calibri" panose="020F0502020204030204" pitchFamily="34" charset="0"/>
              </a:rPr>
              <a:t>2558</a:t>
            </a:r>
            <a:r>
              <a:rPr lang="de-DE" b="0" i="0" u="none" strike="noStrike" dirty="0">
                <a:effectLst/>
                <a:latin typeface="Calibri" panose="020F0502020204030204" pitchFamily="34" charset="0"/>
                <a:cs typeface="Calibri" panose="020F0502020204030204" pitchFamily="34" charset="0"/>
              </a:rPr>
              <a:t>)</a:t>
            </a:r>
            <a:endParaRPr lang="de-DE" dirty="0">
              <a:latin typeface="Calibri" panose="020F0502020204030204" pitchFamily="34" charset="0"/>
              <a:cs typeface="Calibri" panose="020F0502020204030204" pitchFamily="34" charset="0"/>
            </a:endParaRPr>
          </a:p>
          <a:p>
            <a:endParaRPr lang="de-DE" dirty="0"/>
          </a:p>
        </p:txBody>
      </p:sp>
      <p:sp>
        <p:nvSpPr>
          <p:cNvPr id="12" name="Titel 3">
            <a:extLst>
              <a:ext uri="{FF2B5EF4-FFF2-40B4-BE49-F238E27FC236}">
                <a16:creationId xmlns:a16="http://schemas.microsoft.com/office/drawing/2014/main" id="{17ECC90C-3A3D-1539-EF4B-3578DF003DCB}"/>
              </a:ext>
            </a:extLst>
          </p:cNvPr>
          <p:cNvSpPr txBox="1">
            <a:spLocks/>
          </p:cNvSpPr>
          <p:nvPr/>
        </p:nvSpPr>
        <p:spPr>
          <a:xfrm>
            <a:off x="252000" y="1322469"/>
            <a:ext cx="8640000" cy="393152"/>
          </a:xfrm>
          <a:prstGeom prst="rect">
            <a:avLst/>
          </a:prstGeom>
        </p:spPr>
        <p:txBody>
          <a:bodyPr vert="horz" lIns="0" tIns="0" rIns="0" bIns="0" rtlCol="0" anchor="t" anchorCtr="0">
            <a:noAutofit/>
          </a:bodyPr>
          <a:lstStyle>
            <a:lvl1pPr algn="l" rtl="0" eaLnBrk="1" fontAlgn="base" hangingPunct="1">
              <a:spcBef>
                <a:spcPct val="0"/>
              </a:spcBef>
              <a:spcAft>
                <a:spcPct val="0"/>
              </a:spcAft>
              <a:defRPr sz="2200" b="1">
                <a:solidFill>
                  <a:srgbClr val="327A86"/>
                </a:solidFill>
                <a:latin typeface="+mj-lt"/>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a:lstStyle>
          <a:p>
            <a:r>
              <a:rPr lang="de-DE" dirty="0"/>
              <a:t>FÖDIMA </a:t>
            </a:r>
            <a:r>
              <a:rPr lang="de-DE" b="0" i="1" dirty="0"/>
              <a:t>Aufbau der Kartei</a:t>
            </a:r>
            <a:endParaRPr lang="de-DE" kern="0" dirty="0"/>
          </a:p>
        </p:txBody>
      </p:sp>
      <p:pic>
        <p:nvPicPr>
          <p:cNvPr id="2" name="Inhaltsplatzhalter 5">
            <a:extLst>
              <a:ext uri="{FF2B5EF4-FFF2-40B4-BE49-F238E27FC236}">
                <a16:creationId xmlns:a16="http://schemas.microsoft.com/office/drawing/2014/main" id="{B1285750-3B64-08D1-99C2-CC50B3CD93BC}"/>
              </a:ext>
            </a:extLst>
          </p:cNvPr>
          <p:cNvPicPr>
            <a:picLocks noGrp="1" noChangeAspect="1"/>
          </p:cNvPicPr>
          <p:nvPr/>
        </p:nvPicPr>
        <p:blipFill>
          <a:blip r:embed="rId4"/>
          <a:srcRect/>
          <a:stretch/>
        </p:blipFill>
        <p:spPr>
          <a:xfrm>
            <a:off x="3160521" y="2270240"/>
            <a:ext cx="5550564" cy="3928688"/>
          </a:xfrm>
          <a:prstGeom prst="rect">
            <a:avLst/>
          </a:prstGeom>
          <a:ln>
            <a:solidFill>
              <a:schemeClr val="accent6">
                <a:lumMod val="50000"/>
              </a:schemeClr>
            </a:solidFill>
          </a:ln>
        </p:spPr>
      </p:pic>
      <p:sp>
        <p:nvSpPr>
          <p:cNvPr id="4" name="Textfeld 8">
            <a:extLst>
              <a:ext uri="{FF2B5EF4-FFF2-40B4-BE49-F238E27FC236}">
                <a16:creationId xmlns:a16="http://schemas.microsoft.com/office/drawing/2014/main" id="{400EEE8F-0861-9F70-8ED4-1DE8FB5E8556}"/>
              </a:ext>
            </a:extLst>
          </p:cNvPr>
          <p:cNvSpPr txBox="1"/>
          <p:nvPr/>
        </p:nvSpPr>
        <p:spPr>
          <a:xfrm>
            <a:off x="897206" y="2338655"/>
            <a:ext cx="1756144" cy="325636"/>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Titel der Karteikarte</a:t>
            </a:r>
          </a:p>
        </p:txBody>
      </p:sp>
      <p:cxnSp>
        <p:nvCxnSpPr>
          <p:cNvPr id="8" name="Gerade Verbindung mit Pfeil 7">
            <a:extLst>
              <a:ext uri="{FF2B5EF4-FFF2-40B4-BE49-F238E27FC236}">
                <a16:creationId xmlns:a16="http://schemas.microsoft.com/office/drawing/2014/main" id="{3EB7BE9B-C805-44AD-4848-4B8B15EF93C1}"/>
              </a:ext>
            </a:extLst>
          </p:cNvPr>
          <p:cNvCxnSpPr>
            <a:cxnSpLocks/>
          </p:cNvCxnSpPr>
          <p:nvPr/>
        </p:nvCxnSpPr>
        <p:spPr>
          <a:xfrm>
            <a:off x="2674411" y="2501440"/>
            <a:ext cx="572681" cy="0"/>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10">
            <a:extLst>
              <a:ext uri="{FF2B5EF4-FFF2-40B4-BE49-F238E27FC236}">
                <a16:creationId xmlns:a16="http://schemas.microsoft.com/office/drawing/2014/main" id="{AC3B2B94-F6BA-612E-74D6-795264275BB6}"/>
              </a:ext>
            </a:extLst>
          </p:cNvPr>
          <p:cNvSpPr txBox="1"/>
          <p:nvPr/>
        </p:nvSpPr>
        <p:spPr>
          <a:xfrm>
            <a:off x="4348492" y="1736578"/>
            <a:ext cx="1149463" cy="325636"/>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Zahlenraum</a:t>
            </a:r>
          </a:p>
        </p:txBody>
      </p:sp>
      <p:sp>
        <p:nvSpPr>
          <p:cNvPr id="13" name="Textfeld 12">
            <a:extLst>
              <a:ext uri="{FF2B5EF4-FFF2-40B4-BE49-F238E27FC236}">
                <a16:creationId xmlns:a16="http://schemas.microsoft.com/office/drawing/2014/main" id="{16AD64C1-DCF7-7CDB-1A14-9B5944A20A4E}"/>
              </a:ext>
            </a:extLst>
          </p:cNvPr>
          <p:cNvSpPr txBox="1"/>
          <p:nvPr/>
        </p:nvSpPr>
        <p:spPr>
          <a:xfrm>
            <a:off x="5629275" y="1508633"/>
            <a:ext cx="1374850" cy="553581"/>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pPr algn="ctr"/>
            <a:r>
              <a:rPr lang="de-DE" sz="1400" dirty="0"/>
              <a:t>Inhaltsbereich im Lehrplan</a:t>
            </a:r>
          </a:p>
        </p:txBody>
      </p:sp>
      <p:sp>
        <p:nvSpPr>
          <p:cNvPr id="15" name="Textfeld 14">
            <a:extLst>
              <a:ext uri="{FF2B5EF4-FFF2-40B4-BE49-F238E27FC236}">
                <a16:creationId xmlns:a16="http://schemas.microsoft.com/office/drawing/2014/main" id="{730A5D1C-EE38-3C27-1877-AC7ADC42107B}"/>
              </a:ext>
            </a:extLst>
          </p:cNvPr>
          <p:cNvSpPr txBox="1"/>
          <p:nvPr/>
        </p:nvSpPr>
        <p:spPr>
          <a:xfrm>
            <a:off x="897205" y="3197221"/>
            <a:ext cx="1756143" cy="553581"/>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Diagnostische Basisaufgabe</a:t>
            </a:r>
          </a:p>
        </p:txBody>
      </p:sp>
      <p:cxnSp>
        <p:nvCxnSpPr>
          <p:cNvPr id="16" name="Gerade Verbindung mit Pfeil 15">
            <a:extLst>
              <a:ext uri="{FF2B5EF4-FFF2-40B4-BE49-F238E27FC236}">
                <a16:creationId xmlns:a16="http://schemas.microsoft.com/office/drawing/2014/main" id="{D4F9BC51-22E0-F71F-F8F6-A67DC684743F}"/>
              </a:ext>
            </a:extLst>
          </p:cNvPr>
          <p:cNvCxnSpPr>
            <a:cxnSpLocks/>
            <a:stCxn id="15" idx="3"/>
          </p:cNvCxnSpPr>
          <p:nvPr/>
        </p:nvCxnSpPr>
        <p:spPr>
          <a:xfrm flipV="1">
            <a:off x="2653348" y="3474011"/>
            <a:ext cx="593744" cy="1"/>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F3F1268A-223D-415C-9DBE-7A67CFA1B4A5}"/>
              </a:ext>
            </a:extLst>
          </p:cNvPr>
          <p:cNvSpPr txBox="1"/>
          <p:nvPr/>
        </p:nvSpPr>
        <p:spPr>
          <a:xfrm>
            <a:off x="897206" y="4193353"/>
            <a:ext cx="1466800" cy="781526"/>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Passende Beobachtungs-hinweise</a:t>
            </a:r>
          </a:p>
        </p:txBody>
      </p:sp>
      <p:cxnSp>
        <p:nvCxnSpPr>
          <p:cNvPr id="18" name="Gerade Verbindung mit Pfeil 17">
            <a:extLst>
              <a:ext uri="{FF2B5EF4-FFF2-40B4-BE49-F238E27FC236}">
                <a16:creationId xmlns:a16="http://schemas.microsoft.com/office/drawing/2014/main" id="{06D0E69B-DFAB-32F9-B659-F3B4C099FBAA}"/>
              </a:ext>
            </a:extLst>
          </p:cNvPr>
          <p:cNvCxnSpPr>
            <a:cxnSpLocks/>
          </p:cNvCxnSpPr>
          <p:nvPr/>
        </p:nvCxnSpPr>
        <p:spPr>
          <a:xfrm>
            <a:off x="2364006" y="4585570"/>
            <a:ext cx="883086" cy="0"/>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sp>
        <p:nvSpPr>
          <p:cNvPr id="19" name="Textfeld 36">
            <a:extLst>
              <a:ext uri="{FF2B5EF4-FFF2-40B4-BE49-F238E27FC236}">
                <a16:creationId xmlns:a16="http://schemas.microsoft.com/office/drawing/2014/main" id="{581DA683-B2B8-A8DE-122F-B4AC7A725466}"/>
              </a:ext>
            </a:extLst>
          </p:cNvPr>
          <p:cNvSpPr txBox="1"/>
          <p:nvPr/>
        </p:nvSpPr>
        <p:spPr>
          <a:xfrm>
            <a:off x="4306991" y="6264207"/>
            <a:ext cx="3482897" cy="325636"/>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Gezielte Impulse zur tieferen Diagnose</a:t>
            </a:r>
          </a:p>
        </p:txBody>
      </p:sp>
      <p:cxnSp>
        <p:nvCxnSpPr>
          <p:cNvPr id="22" name="Gerade Verbindung mit Pfeil 21">
            <a:extLst>
              <a:ext uri="{FF2B5EF4-FFF2-40B4-BE49-F238E27FC236}">
                <a16:creationId xmlns:a16="http://schemas.microsoft.com/office/drawing/2014/main" id="{3CE6C757-B50A-1B80-0ED3-B6CBE51478ED}"/>
              </a:ext>
            </a:extLst>
          </p:cNvPr>
          <p:cNvCxnSpPr>
            <a:cxnSpLocks/>
          </p:cNvCxnSpPr>
          <p:nvPr/>
        </p:nvCxnSpPr>
        <p:spPr>
          <a:xfrm flipV="1">
            <a:off x="5326007" y="4648200"/>
            <a:ext cx="817618" cy="1616007"/>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sp>
        <p:nvSpPr>
          <p:cNvPr id="23" name="Textfeld 44">
            <a:extLst>
              <a:ext uri="{FF2B5EF4-FFF2-40B4-BE49-F238E27FC236}">
                <a16:creationId xmlns:a16="http://schemas.microsoft.com/office/drawing/2014/main" id="{C9947A78-6DEF-DB92-1D48-48DFC28D6971}"/>
              </a:ext>
            </a:extLst>
          </p:cNvPr>
          <p:cNvSpPr txBox="1"/>
          <p:nvPr/>
        </p:nvSpPr>
        <p:spPr>
          <a:xfrm>
            <a:off x="7134638" y="1508633"/>
            <a:ext cx="1888682" cy="553581"/>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Zu diagnostizierende Kompetenzen</a:t>
            </a:r>
          </a:p>
        </p:txBody>
      </p:sp>
      <p:cxnSp>
        <p:nvCxnSpPr>
          <p:cNvPr id="36" name="Gerade Verbindung mit Pfeil 35">
            <a:extLst>
              <a:ext uri="{FF2B5EF4-FFF2-40B4-BE49-F238E27FC236}">
                <a16:creationId xmlns:a16="http://schemas.microsoft.com/office/drawing/2014/main" id="{2CB2C10C-B12C-114A-225C-125828B27FF0}"/>
              </a:ext>
            </a:extLst>
          </p:cNvPr>
          <p:cNvCxnSpPr>
            <a:cxnSpLocks/>
          </p:cNvCxnSpPr>
          <p:nvPr/>
        </p:nvCxnSpPr>
        <p:spPr>
          <a:xfrm flipH="1">
            <a:off x="8429625" y="2062214"/>
            <a:ext cx="462375" cy="890536"/>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8694F3A0-F348-D68C-563E-02525496465A}"/>
              </a:ext>
            </a:extLst>
          </p:cNvPr>
          <p:cNvCxnSpPr>
            <a:cxnSpLocks/>
          </p:cNvCxnSpPr>
          <p:nvPr/>
        </p:nvCxnSpPr>
        <p:spPr>
          <a:xfrm>
            <a:off x="5140390" y="2062214"/>
            <a:ext cx="1384235" cy="325636"/>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1823856B-3D23-0305-7462-AE856884CF8B}"/>
              </a:ext>
            </a:extLst>
          </p:cNvPr>
          <p:cNvCxnSpPr>
            <a:cxnSpLocks/>
          </p:cNvCxnSpPr>
          <p:nvPr/>
        </p:nvCxnSpPr>
        <p:spPr>
          <a:xfrm>
            <a:off x="6607189" y="2062214"/>
            <a:ext cx="1182699" cy="278225"/>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8708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1" name="Rechteck 20">
            <a:extLst>
              <a:ext uri="{FF2B5EF4-FFF2-40B4-BE49-F238E27FC236}">
                <a16:creationId xmlns:a16="http://schemas.microsoft.com/office/drawing/2014/main" id="{1EC4E7F7-E37C-FB9E-7BF9-DF10C02D03C5}"/>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
        <p:nvSpPr>
          <p:cNvPr id="11" name="Textplatzhalter 5">
            <a:extLst>
              <a:ext uri="{FF2B5EF4-FFF2-40B4-BE49-F238E27FC236}">
                <a16:creationId xmlns:a16="http://schemas.microsoft.com/office/drawing/2014/main" id="{FF27579C-64D9-6E8E-76D3-CB3A31A68839}"/>
              </a:ext>
            </a:extLst>
          </p:cNvPr>
          <p:cNvSpPr>
            <a:spLocks noGrp="1"/>
          </p:cNvSpPr>
          <p:nvPr>
            <p:ph type="body" sz="quarter" idx="10"/>
          </p:nvPr>
        </p:nvSpPr>
        <p:spPr>
          <a:xfrm>
            <a:off x="108000" y="6642000"/>
            <a:ext cx="8928000" cy="216000"/>
          </a:xfrm>
        </p:spPr>
        <p:txBody>
          <a:bodyPr/>
          <a:lstStyle/>
          <a:p>
            <a:r>
              <a:rPr lang="de-DE" dirty="0">
                <a:latin typeface="Calibri" panose="020F0502020204030204" pitchFamily="34" charset="0"/>
                <a:cs typeface="Calibri" panose="020F0502020204030204" pitchFamily="34" charset="0"/>
              </a:rPr>
              <a:t>(Bildquelle: </a:t>
            </a:r>
            <a:r>
              <a:rPr lang="de-DE" b="0" i="0" strike="noStrike" dirty="0">
                <a:effectLst/>
                <a:latin typeface="Calibri" panose="020F0502020204030204" pitchFamily="34" charset="0"/>
                <a:cs typeface="Calibri" panose="020F0502020204030204" pitchFamily="34" charset="0"/>
              </a:rPr>
              <a:t>https://pikas.dzlm.de/node/</a:t>
            </a:r>
            <a:r>
              <a:rPr lang="de-DE" dirty="0">
                <a:latin typeface="Calibri" panose="020F0502020204030204" pitchFamily="34" charset="0"/>
                <a:cs typeface="Calibri" panose="020F0502020204030204" pitchFamily="34" charset="0"/>
              </a:rPr>
              <a:t>2558</a:t>
            </a:r>
            <a:r>
              <a:rPr lang="de-DE" b="0" i="0" u="none" strike="noStrike" dirty="0">
                <a:effectLst/>
                <a:latin typeface="Calibri" panose="020F0502020204030204" pitchFamily="34" charset="0"/>
                <a:cs typeface="Calibri" panose="020F0502020204030204" pitchFamily="34" charset="0"/>
              </a:rPr>
              <a:t>)</a:t>
            </a:r>
            <a:endParaRPr lang="de-DE" dirty="0">
              <a:latin typeface="Calibri" panose="020F0502020204030204" pitchFamily="34" charset="0"/>
              <a:cs typeface="Calibri" panose="020F0502020204030204" pitchFamily="34" charset="0"/>
            </a:endParaRPr>
          </a:p>
          <a:p>
            <a:endParaRPr lang="de-DE" dirty="0"/>
          </a:p>
        </p:txBody>
      </p:sp>
      <p:sp>
        <p:nvSpPr>
          <p:cNvPr id="12" name="Titel 3">
            <a:extLst>
              <a:ext uri="{FF2B5EF4-FFF2-40B4-BE49-F238E27FC236}">
                <a16:creationId xmlns:a16="http://schemas.microsoft.com/office/drawing/2014/main" id="{17ECC90C-3A3D-1539-EF4B-3578DF003DCB}"/>
              </a:ext>
            </a:extLst>
          </p:cNvPr>
          <p:cNvSpPr txBox="1">
            <a:spLocks/>
          </p:cNvSpPr>
          <p:nvPr/>
        </p:nvSpPr>
        <p:spPr>
          <a:xfrm>
            <a:off x="252000" y="1322469"/>
            <a:ext cx="8640000" cy="393152"/>
          </a:xfrm>
          <a:prstGeom prst="rect">
            <a:avLst/>
          </a:prstGeom>
        </p:spPr>
        <p:txBody>
          <a:bodyPr vert="horz" lIns="0" tIns="0" rIns="0" bIns="0" rtlCol="0" anchor="t" anchorCtr="0">
            <a:noAutofit/>
          </a:bodyPr>
          <a:lstStyle>
            <a:lvl1pPr algn="l" rtl="0" eaLnBrk="1" fontAlgn="base" hangingPunct="1">
              <a:spcBef>
                <a:spcPct val="0"/>
              </a:spcBef>
              <a:spcAft>
                <a:spcPct val="0"/>
              </a:spcAft>
              <a:defRPr sz="2200" b="1">
                <a:solidFill>
                  <a:srgbClr val="327A86"/>
                </a:solidFill>
                <a:latin typeface="+mj-lt"/>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a:lstStyle>
          <a:p>
            <a:r>
              <a:rPr lang="de-DE" dirty="0"/>
              <a:t>FÖDIMA </a:t>
            </a:r>
            <a:r>
              <a:rPr lang="de-DE" b="0" i="1" dirty="0"/>
              <a:t>Aufbau der Kartei</a:t>
            </a:r>
            <a:endParaRPr lang="de-DE" kern="0" dirty="0"/>
          </a:p>
        </p:txBody>
      </p:sp>
      <p:pic>
        <p:nvPicPr>
          <p:cNvPr id="2" name="Inhaltsplatzhalter 5">
            <a:extLst>
              <a:ext uri="{FF2B5EF4-FFF2-40B4-BE49-F238E27FC236}">
                <a16:creationId xmlns:a16="http://schemas.microsoft.com/office/drawing/2014/main" id="{B1285750-3B64-08D1-99C2-CC50B3CD93BC}"/>
              </a:ext>
            </a:extLst>
          </p:cNvPr>
          <p:cNvPicPr>
            <a:picLocks noGrp="1" noChangeAspect="1"/>
          </p:cNvPicPr>
          <p:nvPr/>
        </p:nvPicPr>
        <p:blipFill>
          <a:blip r:embed="rId4"/>
          <a:srcRect/>
          <a:stretch/>
        </p:blipFill>
        <p:spPr>
          <a:xfrm>
            <a:off x="3158627" y="2270240"/>
            <a:ext cx="5554352" cy="3928688"/>
          </a:xfrm>
          <a:prstGeom prst="rect">
            <a:avLst/>
          </a:prstGeom>
          <a:ln>
            <a:solidFill>
              <a:schemeClr val="accent6">
                <a:lumMod val="50000"/>
              </a:schemeClr>
            </a:solidFill>
          </a:ln>
        </p:spPr>
      </p:pic>
      <p:sp>
        <p:nvSpPr>
          <p:cNvPr id="4" name="Textfeld 8">
            <a:extLst>
              <a:ext uri="{FF2B5EF4-FFF2-40B4-BE49-F238E27FC236}">
                <a16:creationId xmlns:a16="http://schemas.microsoft.com/office/drawing/2014/main" id="{400EEE8F-0861-9F70-8ED4-1DE8FB5E8556}"/>
              </a:ext>
            </a:extLst>
          </p:cNvPr>
          <p:cNvSpPr txBox="1"/>
          <p:nvPr/>
        </p:nvSpPr>
        <p:spPr>
          <a:xfrm>
            <a:off x="897206" y="2338655"/>
            <a:ext cx="1756144" cy="325636"/>
          </a:xfrm>
          <a:prstGeom prst="roundRect">
            <a:avLst>
              <a:gd name="adj" fmla="val 10275"/>
            </a:avLst>
          </a:prstGeom>
          <a:noFill/>
          <a:ln w="19050">
            <a:solidFill>
              <a:schemeClr val="bg1">
                <a:lumMod val="50000"/>
              </a:schemeClr>
            </a:solidFill>
          </a:ln>
        </p:spPr>
        <p:txBody>
          <a:bodyPr wrap="none" rtlCol="0">
            <a:spAutoFit/>
          </a:bodyPr>
          <a:lstStyle>
            <a:defPPr>
              <a:defRPr lang="de-DE"/>
            </a:defPPr>
            <a:lvl1pPr>
              <a:defRPr sz="1400">
                <a:solidFill>
                  <a:schemeClr val="bg1">
                    <a:lumMod val="50000"/>
                  </a:schemeClr>
                </a:solidFill>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dirty="0"/>
              <a:t>Titel der Karteikarte</a:t>
            </a:r>
          </a:p>
        </p:txBody>
      </p:sp>
      <p:cxnSp>
        <p:nvCxnSpPr>
          <p:cNvPr id="8" name="Gerade Verbindung mit Pfeil 7">
            <a:extLst>
              <a:ext uri="{FF2B5EF4-FFF2-40B4-BE49-F238E27FC236}">
                <a16:creationId xmlns:a16="http://schemas.microsoft.com/office/drawing/2014/main" id="{3EB7BE9B-C805-44AD-4848-4B8B15EF93C1}"/>
              </a:ext>
            </a:extLst>
          </p:cNvPr>
          <p:cNvCxnSpPr>
            <a:cxnSpLocks/>
          </p:cNvCxnSpPr>
          <p:nvPr/>
        </p:nvCxnSpPr>
        <p:spPr>
          <a:xfrm>
            <a:off x="2674411" y="2501440"/>
            <a:ext cx="572681" cy="0"/>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16AD64C1-DCF7-7CDB-1A14-9B5944A20A4E}"/>
              </a:ext>
            </a:extLst>
          </p:cNvPr>
          <p:cNvSpPr txBox="1"/>
          <p:nvPr/>
        </p:nvSpPr>
        <p:spPr>
          <a:xfrm>
            <a:off x="5629275" y="1508633"/>
            <a:ext cx="1374850" cy="553581"/>
          </a:xfrm>
          <a:prstGeom prst="roundRect">
            <a:avLst>
              <a:gd name="adj" fmla="val 10275"/>
            </a:avLst>
          </a:prstGeom>
          <a:noFill/>
          <a:ln w="19050">
            <a:solidFill>
              <a:schemeClr val="bg1">
                <a:lumMod val="50000"/>
              </a:schemeClr>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pPr algn="ctr"/>
            <a:r>
              <a:rPr lang="de-DE" sz="1400" dirty="0">
                <a:solidFill>
                  <a:schemeClr val="bg1">
                    <a:lumMod val="50000"/>
                  </a:schemeClr>
                </a:solidFill>
              </a:rPr>
              <a:t>Inhaltsbereich im Lehrplan</a:t>
            </a:r>
          </a:p>
        </p:txBody>
      </p:sp>
      <p:sp>
        <p:nvSpPr>
          <p:cNvPr id="19" name="Textfeld 36">
            <a:extLst>
              <a:ext uri="{FF2B5EF4-FFF2-40B4-BE49-F238E27FC236}">
                <a16:creationId xmlns:a16="http://schemas.microsoft.com/office/drawing/2014/main" id="{581DA683-B2B8-A8DE-122F-B4AC7A725466}"/>
              </a:ext>
            </a:extLst>
          </p:cNvPr>
          <p:cNvSpPr txBox="1"/>
          <p:nvPr/>
        </p:nvSpPr>
        <p:spPr>
          <a:xfrm>
            <a:off x="4854182" y="6264207"/>
            <a:ext cx="1956649" cy="325636"/>
          </a:xfrm>
          <a:prstGeom prst="roundRect">
            <a:avLst>
              <a:gd name="adj" fmla="val 10275"/>
            </a:avLst>
          </a:prstGeom>
          <a:noFill/>
          <a:ln w="19050">
            <a:solidFill>
              <a:srgbClr val="327D87"/>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t>Zusätzliches Material</a:t>
            </a:r>
          </a:p>
        </p:txBody>
      </p:sp>
      <p:cxnSp>
        <p:nvCxnSpPr>
          <p:cNvPr id="22" name="Gerade Verbindung mit Pfeil 21">
            <a:extLst>
              <a:ext uri="{FF2B5EF4-FFF2-40B4-BE49-F238E27FC236}">
                <a16:creationId xmlns:a16="http://schemas.microsoft.com/office/drawing/2014/main" id="{3CE6C757-B50A-1B80-0ED3-B6CBE51478ED}"/>
              </a:ext>
            </a:extLst>
          </p:cNvPr>
          <p:cNvCxnSpPr>
            <a:cxnSpLocks/>
          </p:cNvCxnSpPr>
          <p:nvPr/>
        </p:nvCxnSpPr>
        <p:spPr>
          <a:xfrm flipV="1">
            <a:off x="5832507" y="4805782"/>
            <a:ext cx="321550" cy="1458425"/>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id="{8694F3A0-F348-D68C-563E-02525496465A}"/>
              </a:ext>
            </a:extLst>
          </p:cNvPr>
          <p:cNvCxnSpPr>
            <a:cxnSpLocks/>
          </p:cNvCxnSpPr>
          <p:nvPr/>
        </p:nvCxnSpPr>
        <p:spPr>
          <a:xfrm>
            <a:off x="5140390" y="2062214"/>
            <a:ext cx="1384235" cy="325636"/>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1823856B-3D23-0305-7462-AE856884CF8B}"/>
              </a:ext>
            </a:extLst>
          </p:cNvPr>
          <p:cNvCxnSpPr>
            <a:cxnSpLocks/>
          </p:cNvCxnSpPr>
          <p:nvPr/>
        </p:nvCxnSpPr>
        <p:spPr>
          <a:xfrm>
            <a:off x="6607189" y="2062214"/>
            <a:ext cx="1182699" cy="278225"/>
          </a:xfrm>
          <a:prstGeom prst="straightConnector1">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F7B6EEA7-F551-7048-5085-5D7C9D8BAECB}"/>
              </a:ext>
            </a:extLst>
          </p:cNvPr>
          <p:cNvSpPr txBox="1"/>
          <p:nvPr/>
        </p:nvSpPr>
        <p:spPr>
          <a:xfrm>
            <a:off x="897206" y="3179412"/>
            <a:ext cx="1756144" cy="1224000"/>
          </a:xfrm>
          <a:prstGeom prst="roundRect">
            <a:avLst>
              <a:gd name="adj" fmla="val 10275"/>
            </a:avLst>
          </a:prstGeom>
          <a:noFill/>
          <a:ln w="19050">
            <a:solidFill>
              <a:srgbClr val="327D87"/>
            </a:solidFill>
          </a:ln>
        </p:spPr>
        <p:txBody>
          <a:bodyPr wrap="square" rtlCol="0">
            <a:spAutoFit/>
          </a:bodyPr>
          <a:lstStyle/>
          <a:p>
            <a:r>
              <a:rPr lang="de-DE" sz="1400" dirty="0"/>
              <a:t>Verschiedene Förderanregungen zur Durchführung in verschiedenen Unterrichtssettings</a:t>
            </a:r>
          </a:p>
        </p:txBody>
      </p:sp>
      <p:cxnSp>
        <p:nvCxnSpPr>
          <p:cNvPr id="14" name="Gerade Verbindung mit Pfeil 13">
            <a:extLst>
              <a:ext uri="{FF2B5EF4-FFF2-40B4-BE49-F238E27FC236}">
                <a16:creationId xmlns:a16="http://schemas.microsoft.com/office/drawing/2014/main" id="{445BA92E-F810-329D-C39C-B47DD21723A6}"/>
              </a:ext>
            </a:extLst>
          </p:cNvPr>
          <p:cNvCxnSpPr>
            <a:cxnSpLocks/>
            <a:stCxn id="10" idx="3"/>
          </p:cNvCxnSpPr>
          <p:nvPr/>
        </p:nvCxnSpPr>
        <p:spPr>
          <a:xfrm flipV="1">
            <a:off x="2653350" y="2944513"/>
            <a:ext cx="760410" cy="846899"/>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F0FCA3E7-147E-4CEC-07A1-4501A9F28945}"/>
              </a:ext>
            </a:extLst>
          </p:cNvPr>
          <p:cNvCxnSpPr>
            <a:cxnSpLocks/>
          </p:cNvCxnSpPr>
          <p:nvPr/>
        </p:nvCxnSpPr>
        <p:spPr>
          <a:xfrm>
            <a:off x="2653350" y="3791412"/>
            <a:ext cx="763618" cy="804651"/>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A79065DB-4FE9-D37B-0DC6-870A6D5B65F2}"/>
              </a:ext>
            </a:extLst>
          </p:cNvPr>
          <p:cNvCxnSpPr>
            <a:cxnSpLocks/>
            <a:stCxn id="10" idx="3"/>
          </p:cNvCxnSpPr>
          <p:nvPr/>
        </p:nvCxnSpPr>
        <p:spPr>
          <a:xfrm flipV="1">
            <a:off x="2653350" y="2983832"/>
            <a:ext cx="3362439" cy="807580"/>
          </a:xfrm>
          <a:prstGeom prst="straightConnector1">
            <a:avLst/>
          </a:prstGeom>
          <a:ln w="19050">
            <a:solidFill>
              <a:srgbClr val="327D87"/>
            </a:solidFill>
            <a:tailEnd type="triangle"/>
          </a:ln>
        </p:spPr>
        <p:style>
          <a:lnRef idx="1">
            <a:schemeClr val="accent1"/>
          </a:lnRef>
          <a:fillRef idx="0">
            <a:schemeClr val="accent1"/>
          </a:fillRef>
          <a:effectRef idx="0">
            <a:schemeClr val="accent1"/>
          </a:effectRef>
          <a:fontRef idx="minor">
            <a:schemeClr val="tx1"/>
          </a:fontRef>
        </p:style>
      </p:cxnSp>
      <p:sp>
        <p:nvSpPr>
          <p:cNvPr id="29" name="Textfeld 10">
            <a:extLst>
              <a:ext uri="{FF2B5EF4-FFF2-40B4-BE49-F238E27FC236}">
                <a16:creationId xmlns:a16="http://schemas.microsoft.com/office/drawing/2014/main" id="{FB9F853D-504E-ED33-D639-2B2D7954967A}"/>
              </a:ext>
            </a:extLst>
          </p:cNvPr>
          <p:cNvSpPr txBox="1"/>
          <p:nvPr/>
        </p:nvSpPr>
        <p:spPr>
          <a:xfrm>
            <a:off x="4348492" y="1736578"/>
            <a:ext cx="1149463" cy="325636"/>
          </a:xfrm>
          <a:prstGeom prst="roundRect">
            <a:avLst>
              <a:gd name="adj" fmla="val 10275"/>
            </a:avLst>
          </a:prstGeom>
          <a:noFill/>
          <a:ln w="19050">
            <a:solidFill>
              <a:schemeClr val="bg1">
                <a:lumMod val="50000"/>
              </a:schemeClr>
            </a:solidFill>
          </a:ln>
        </p:spPr>
        <p:txBody>
          <a:bodyPr wrap="square" rtlCol="0">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a:lstStyle>
          <a:p>
            <a:r>
              <a:rPr lang="de-DE" sz="1400" dirty="0">
                <a:solidFill>
                  <a:schemeClr val="bg1">
                    <a:lumMod val="50000"/>
                  </a:schemeClr>
                </a:solidFill>
              </a:rPr>
              <a:t>Zahlenraum</a:t>
            </a:r>
          </a:p>
        </p:txBody>
      </p:sp>
    </p:spTree>
    <p:extLst>
      <p:ext uri="{BB962C8B-B14F-4D97-AF65-F5344CB8AC3E}">
        <p14:creationId xmlns:p14="http://schemas.microsoft.com/office/powerpoint/2010/main" val="2768833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de-DE" sz="16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ch nutze gezielte Impulse, um in Arbeitsphasen mathematische Gespräche mit einzelnen Kindern ergiebig zu gestalten und zu dokumentieren.</a:t>
              </a:r>
            </a:p>
            <a:p>
              <a:pPr eaLnBrk="0" fontAlgn="base" hangingPunct="0">
                <a:lnSpc>
                  <a:spcPct val="115000"/>
                </a:lnSpc>
              </a:pPr>
              <a:endPar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1" name="Rechteck 20">
            <a:extLst>
              <a:ext uri="{FF2B5EF4-FFF2-40B4-BE49-F238E27FC236}">
                <a16:creationId xmlns:a16="http://schemas.microsoft.com/office/drawing/2014/main" id="{1EC4E7F7-E37C-FB9E-7BF9-DF10C02D03C5}"/>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
        <p:nvSpPr>
          <p:cNvPr id="11" name="Textplatzhalter 5">
            <a:extLst>
              <a:ext uri="{FF2B5EF4-FFF2-40B4-BE49-F238E27FC236}">
                <a16:creationId xmlns:a16="http://schemas.microsoft.com/office/drawing/2014/main" id="{FF27579C-64D9-6E8E-76D3-CB3A31A68839}"/>
              </a:ext>
            </a:extLst>
          </p:cNvPr>
          <p:cNvSpPr>
            <a:spLocks noGrp="1"/>
          </p:cNvSpPr>
          <p:nvPr>
            <p:ph type="body" sz="quarter" idx="10"/>
          </p:nvPr>
        </p:nvSpPr>
        <p:spPr>
          <a:xfrm>
            <a:off x="108000" y="6642000"/>
            <a:ext cx="8928000" cy="216000"/>
          </a:xfrm>
        </p:spPr>
        <p:txBody>
          <a:bodyPr/>
          <a:lstStyle/>
          <a:p>
            <a:r>
              <a:rPr lang="de-DE" dirty="0"/>
              <a:t>(Videoquelle: FÖDIMA Projekt)</a:t>
            </a:r>
          </a:p>
          <a:p>
            <a:endParaRPr lang="de-DE" dirty="0"/>
          </a:p>
        </p:txBody>
      </p:sp>
      <p:pic>
        <p:nvPicPr>
          <p:cNvPr id="7" name="Födima_Video_Lisa_neues Outro">
            <a:hlinkClick r:id="" action="ppaction://media"/>
            <a:extLst>
              <a:ext uri="{FF2B5EF4-FFF2-40B4-BE49-F238E27FC236}">
                <a16:creationId xmlns:a16="http://schemas.microsoft.com/office/drawing/2014/main" id="{38675263-5882-B77E-3D5E-5838E9F7EA3B}"/>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6"/>
          <a:stretch>
            <a:fillRect/>
          </a:stretch>
        </p:blipFill>
        <p:spPr>
          <a:xfrm>
            <a:off x="202045" y="1382446"/>
            <a:ext cx="8764594" cy="4929882"/>
          </a:xfrm>
        </p:spPr>
      </p:pic>
      <p:sp>
        <p:nvSpPr>
          <p:cNvPr id="9" name="Wolkenförmige Legende 9">
            <a:extLst>
              <a:ext uri="{FF2B5EF4-FFF2-40B4-BE49-F238E27FC236}">
                <a16:creationId xmlns:a16="http://schemas.microsoft.com/office/drawing/2014/main" id="{A1731A0D-F595-E3F8-F7C9-172D2F920D60}"/>
              </a:ext>
            </a:extLst>
          </p:cNvPr>
          <p:cNvSpPr/>
          <p:nvPr/>
        </p:nvSpPr>
        <p:spPr bwMode="auto">
          <a:xfrm>
            <a:off x="7068065" y="1430524"/>
            <a:ext cx="1898574" cy="1083589"/>
          </a:xfrm>
          <a:prstGeom prst="cloudCallout">
            <a:avLst>
              <a:gd name="adj1" fmla="val -59739"/>
              <a:gd name="adj2" fmla="val 36887"/>
            </a:avLst>
          </a:prstGeom>
          <a:solidFill>
            <a:srgbClr val="CEDBE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e-DE" sz="1400" dirty="0">
                <a:latin typeface="Calibri" panose="020F0502020204030204" pitchFamily="34" charset="0"/>
              </a:rPr>
              <a:t>Welche Impulse setzt die Lehrkraft?</a:t>
            </a: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5" name="Wolkenförmige Legende 9">
            <a:extLst>
              <a:ext uri="{FF2B5EF4-FFF2-40B4-BE49-F238E27FC236}">
                <a16:creationId xmlns:a16="http://schemas.microsoft.com/office/drawing/2014/main" id="{2AD24335-C5B6-3933-41BD-F865CC984EAF}"/>
              </a:ext>
            </a:extLst>
          </p:cNvPr>
          <p:cNvSpPr/>
          <p:nvPr/>
        </p:nvSpPr>
        <p:spPr bwMode="auto">
          <a:xfrm>
            <a:off x="6277232" y="2547628"/>
            <a:ext cx="2664723" cy="1233540"/>
          </a:xfrm>
          <a:prstGeom prst="cloudCallout">
            <a:avLst>
              <a:gd name="adj1" fmla="val -59739"/>
              <a:gd name="adj2" fmla="val 36887"/>
            </a:avLst>
          </a:prstGeom>
          <a:solidFill>
            <a:srgbClr val="CEDBEA"/>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r>
              <a:rPr lang="de-DE" sz="1400" dirty="0">
                <a:latin typeface="Calibri" panose="020F0502020204030204" pitchFamily="34" charset="0"/>
              </a:rPr>
              <a:t>Welche Beobachtungen können dadurch gemacht werden?</a:t>
            </a:r>
            <a:endParaRPr kumimoji="0" lang="de-DE" sz="1400" b="0" i="0" u="none" strike="noStrike" cap="none" normalizeH="0" baseline="0" dirty="0">
              <a:ln>
                <a:noFill/>
              </a:ln>
              <a:solidFill>
                <a:schemeClr val="tx1"/>
              </a:solidFill>
              <a:effectLst/>
              <a:latin typeface="Calibri" panose="020F0502020204030204" pitchFamily="34" charset="0"/>
            </a:endParaRPr>
          </a:p>
        </p:txBody>
      </p:sp>
    </p:spTree>
    <p:extLst>
      <p:ext uri="{BB962C8B-B14F-4D97-AF65-F5344CB8AC3E}">
        <p14:creationId xmlns:p14="http://schemas.microsoft.com/office/powerpoint/2010/main" val="1750614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66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4183544508"/>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kern="1200" dirty="0">
                          <a:solidFill>
                            <a:schemeClr val="accent1"/>
                          </a:solidFill>
                          <a:latin typeface="+mn-lt"/>
                          <a:ea typeface="+mn-ea"/>
                          <a:cs typeface="+mn-cs"/>
                        </a:rPr>
                        <a:t>Auseinandersetzung mit der Kartei hinsichtlich des Aufbaus, der Inhalte und der Eignung für die eigene Lerngrupp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Material: FÖDIMA-Kartei</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dirty="0"/>
              <a:t>Die nächste Aktivierung dient dazu: </a:t>
            </a:r>
            <a:endParaRPr lang="de-DE" sz="1600" dirty="0"/>
          </a:p>
          <a:p>
            <a:pPr lvl="2"/>
            <a:r>
              <a:rPr lang="de-DE" dirty="0"/>
              <a:t>einen Überblick über den Aufbau der Kartei als Diagnose- und Förderinstrument zu gewinnen sowie</a:t>
            </a:r>
          </a:p>
          <a:p>
            <a:pPr lvl="2"/>
            <a:r>
              <a:rPr lang="de-DE" dirty="0"/>
              <a:t>Anregungen für den Einsatz in der eigenen Lerngruppe zu geben.</a:t>
            </a:r>
          </a:p>
          <a:p>
            <a:r>
              <a:rPr lang="de-DE" dirty="0"/>
              <a:t>Didaktische Umsetzung:</a:t>
            </a:r>
          </a:p>
          <a:p>
            <a:pPr marL="216000" lvl="2" indent="0">
              <a:buNone/>
            </a:pPr>
            <a:r>
              <a:rPr lang="de-DE" sz="1800" dirty="0"/>
              <a:t>Die </a:t>
            </a:r>
            <a:r>
              <a:rPr lang="de-DE" sz="1800" dirty="0" err="1"/>
              <a:t>Kolleg:innen</a:t>
            </a:r>
            <a:r>
              <a:rPr lang="de-DE" sz="1800" dirty="0"/>
              <a:t> machen sich mit der Kartei vertraut und bearbeiten dabei folgende Reflexionsaufträge:</a:t>
            </a:r>
          </a:p>
          <a:p>
            <a:pPr lvl="4"/>
            <a:r>
              <a:rPr lang="de-DE" i="1" dirty="0"/>
              <a:t>Welche Aktivitäten und Impulse bieten sich für den Einsatz in Ihrer Lerngruppe an?</a:t>
            </a:r>
          </a:p>
          <a:p>
            <a:pPr lvl="4"/>
            <a:r>
              <a:rPr lang="de-DE" i="1" dirty="0"/>
              <a:t>Wo sehen Sie in Ihrem eigenen Unterricht Räume, um diese einzusetzen?</a:t>
            </a:r>
          </a:p>
          <a:p>
            <a:pPr lvl="4"/>
            <a:endParaRPr lang="de-DE" i="1" dirty="0"/>
          </a:p>
          <a:p>
            <a:pPr lvl="4"/>
            <a:endParaRPr lang="de-DE" i="1" dirty="0"/>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FER_M1.1_Präsentation_240608_LP</Template>
  <TotalTime>0</TotalTime>
  <Words>1700</Words>
  <Application>Microsoft Macintosh PowerPoint</Application>
  <PresentationFormat>Bildschirmpräsentation (4:3)</PresentationFormat>
  <Paragraphs>186</Paragraphs>
  <Slides>14</Slides>
  <Notes>12</Notes>
  <HiddenSlides>5</HiddenSlides>
  <MMClips>1</MMClips>
  <ScaleCrop>false</ScaleCrop>
  <HeadingPairs>
    <vt:vector size="8" baseType="variant">
      <vt:variant>
        <vt:lpstr>Verwendete Schriftarten</vt:lpstr>
      </vt:variant>
      <vt:variant>
        <vt:i4>7</vt:i4>
      </vt:variant>
      <vt:variant>
        <vt:lpstr>Design</vt:lpstr>
      </vt:variant>
      <vt:variant>
        <vt:i4>5</vt:i4>
      </vt:variant>
      <vt:variant>
        <vt:lpstr>Eingebettete OLE-Server</vt:lpstr>
      </vt:variant>
      <vt:variant>
        <vt:i4>1</vt:i4>
      </vt:variant>
      <vt:variant>
        <vt:lpstr>Folientitel</vt:lpstr>
      </vt:variant>
      <vt:variant>
        <vt:i4>14</vt:i4>
      </vt:variant>
    </vt:vector>
  </HeadingPairs>
  <TitlesOfParts>
    <vt:vector size="27" baseType="lpstr">
      <vt:lpstr>Arial</vt:lpstr>
      <vt:lpstr>Calibri</vt:lpstr>
      <vt:lpstr>Calibri Light</vt:lpstr>
      <vt:lpstr>Calibri Normal</vt:lpstr>
      <vt:lpstr>Courier New</vt:lpstr>
      <vt:lpstr>Roboto</vt:lpstr>
      <vt:lpstr>Wingdings</vt:lpstr>
      <vt:lpstr>Inhaltsfolien</vt:lpstr>
      <vt:lpstr>Zwischenfolien für Fortbildende</vt:lpstr>
      <vt:lpstr>Start- und Endfolien</vt:lpstr>
      <vt:lpstr>IPN-Kontext</vt:lpstr>
      <vt:lpstr>IPN-Kontext mit Balken</vt:lpstr>
      <vt:lpstr>think-cell Folie</vt:lpstr>
      <vt:lpstr>PowerPoint-Präsentation</vt:lpstr>
      <vt:lpstr>Hinweise zu den Lizenzbedingungen</vt:lpstr>
      <vt:lpstr>Hinweis zur Nutzung der urheberrechtlich geschützten Bilder und Videos</vt:lpstr>
      <vt:lpstr>Sinn des nächsten Inputs</vt:lpstr>
      <vt:lpstr>PowerPoint-Präsentation</vt:lpstr>
      <vt:lpstr>PowerPoint-Präsentation</vt:lpstr>
      <vt:lpstr>PowerPoint-Präsentation</vt:lpstr>
      <vt:lpstr>PowerPoint-Präsentation</vt:lpstr>
      <vt:lpstr>Sinn der nächsten Aktivität</vt:lpstr>
      <vt:lpstr>PowerPoint-Präsentation</vt:lpstr>
      <vt:lpstr>Sinn des nächsten Inputs</vt:lpstr>
      <vt:lpstr>PowerPoint-Präsentation</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Lilith Pokorra</dc:creator>
  <cp:keywords/>
  <dc:description/>
  <cp:lastModifiedBy>Johanna Brandt</cp:lastModifiedBy>
  <cp:revision>5</cp:revision>
  <cp:lastPrinted>2017-05-16T11:48:33Z</cp:lastPrinted>
  <dcterms:created xsi:type="dcterms:W3CDTF">2024-06-29T12:09:22Z</dcterms:created>
  <dcterms:modified xsi:type="dcterms:W3CDTF">2024-09-17T13:54:50Z</dcterms:modified>
  <cp:category/>
</cp:coreProperties>
</file>